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75" r:id="rId3"/>
    <p:sldId id="258" r:id="rId4"/>
    <p:sldId id="276" r:id="rId5"/>
    <p:sldId id="277" r:id="rId6"/>
    <p:sldId id="271" r:id="rId7"/>
    <p:sldId id="278" r:id="rId8"/>
    <p:sldId id="279" r:id="rId9"/>
    <p:sldId id="272" r:id="rId10"/>
    <p:sldId id="280" r:id="rId11"/>
    <p:sldId id="282" r:id="rId12"/>
    <p:sldId id="273" r:id="rId13"/>
    <p:sldId id="281" r:id="rId14"/>
    <p:sldId id="283" r:id="rId15"/>
    <p:sldId id="274" r:id="rId16"/>
    <p:sldId id="284" r:id="rId17"/>
    <p:sldId id="285" r:id="rId18"/>
    <p:sldId id="261" r:id="rId19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C1A"/>
    <a:srgbClr val="D24F08"/>
    <a:srgbClr val="C96807"/>
    <a:srgbClr val="F1DECB"/>
    <a:srgbClr val="1C0F33"/>
    <a:srgbClr val="311A5A"/>
    <a:srgbClr val="3D2070"/>
    <a:srgbClr val="514A88"/>
    <a:srgbClr val="A0F2FE"/>
    <a:srgbClr val="2F02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40" autoAdjust="0"/>
    <p:restoredTop sz="96182" autoAdjust="0"/>
  </p:normalViewPr>
  <p:slideViewPr>
    <p:cSldViewPr snapToGrid="0">
      <p:cViewPr varScale="1">
        <p:scale>
          <a:sx n="104" d="100"/>
          <a:sy n="104" d="100"/>
        </p:scale>
        <p:origin x="212" y="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" name="矩形 1535">
            <a:extLst>
              <a:ext uri="{FF2B5EF4-FFF2-40B4-BE49-F238E27FC236}">
                <a16:creationId xmlns:a16="http://schemas.microsoft.com/office/drawing/2014/main" id="{63CB2C4E-0118-45C5-A86A-672E5386BA5E}"/>
              </a:ext>
            </a:extLst>
          </p:cNvPr>
          <p:cNvSpPr/>
          <p:nvPr userDrawn="1"/>
        </p:nvSpPr>
        <p:spPr bwMode="auto">
          <a:xfrm flipH="1">
            <a:off x="0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6000">
                <a:schemeClr val="accent1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>
              <a:solidFill>
                <a:schemeClr val="tx1"/>
              </a:solidFill>
            </a:endParaRPr>
          </a:p>
        </p:txBody>
      </p:sp>
      <p:grpSp>
        <p:nvGrpSpPr>
          <p:cNvPr id="1554" name="组合 1553">
            <a:extLst>
              <a:ext uri="{FF2B5EF4-FFF2-40B4-BE49-F238E27FC236}">
                <a16:creationId xmlns:a16="http://schemas.microsoft.com/office/drawing/2014/main" id="{9C06DA49-55AD-4326-B730-AD0A5BAE4EF1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1555" name="组合 1554">
              <a:extLst>
                <a:ext uri="{FF2B5EF4-FFF2-40B4-BE49-F238E27FC236}">
                  <a16:creationId xmlns:a16="http://schemas.microsoft.com/office/drawing/2014/main" id="{FBFE3F6C-9D62-4CA2-ADC3-C70723B3AD86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1570" name="直接连接符 1569">
                <a:extLst>
                  <a:ext uri="{FF2B5EF4-FFF2-40B4-BE49-F238E27FC236}">
                    <a16:creationId xmlns:a16="http://schemas.microsoft.com/office/drawing/2014/main" id="{BA2ADC6E-8035-438C-B867-87045DA8F8C7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1" name="直接连接符 1570">
                <a:extLst>
                  <a:ext uri="{FF2B5EF4-FFF2-40B4-BE49-F238E27FC236}">
                    <a16:creationId xmlns:a16="http://schemas.microsoft.com/office/drawing/2014/main" id="{47F120AC-71C0-4D1B-80E7-671BF66E1609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2" name="直接连接符 1571">
                <a:extLst>
                  <a:ext uri="{FF2B5EF4-FFF2-40B4-BE49-F238E27FC236}">
                    <a16:creationId xmlns:a16="http://schemas.microsoft.com/office/drawing/2014/main" id="{CFDF6080-B8B5-4694-B968-7C5C03E92617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3" name="直接连接符 1572">
                <a:extLst>
                  <a:ext uri="{FF2B5EF4-FFF2-40B4-BE49-F238E27FC236}">
                    <a16:creationId xmlns:a16="http://schemas.microsoft.com/office/drawing/2014/main" id="{C156279E-F0C7-40F1-B148-E82339B5CB80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4" name="直接连接符 1573">
                <a:extLst>
                  <a:ext uri="{FF2B5EF4-FFF2-40B4-BE49-F238E27FC236}">
                    <a16:creationId xmlns:a16="http://schemas.microsoft.com/office/drawing/2014/main" id="{C04B641F-CF10-417A-A956-97CE17E00779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5" name="直接连接符 1574">
                <a:extLst>
                  <a:ext uri="{FF2B5EF4-FFF2-40B4-BE49-F238E27FC236}">
                    <a16:creationId xmlns:a16="http://schemas.microsoft.com/office/drawing/2014/main" id="{7B6D72A4-7171-4EAD-941F-F0B8F45B1715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6" name="直接连接符 1575">
                <a:extLst>
                  <a:ext uri="{FF2B5EF4-FFF2-40B4-BE49-F238E27FC236}">
                    <a16:creationId xmlns:a16="http://schemas.microsoft.com/office/drawing/2014/main" id="{6F08BB5D-C564-45C5-9F9E-642B8CD4BFAF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6" name="组合 1555">
              <a:extLst>
                <a:ext uri="{FF2B5EF4-FFF2-40B4-BE49-F238E27FC236}">
                  <a16:creationId xmlns:a16="http://schemas.microsoft.com/office/drawing/2014/main" id="{EDD6E825-0C3E-4B42-943D-04E140AE157C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1565" name="直接连接符 1564">
                <a:extLst>
                  <a:ext uri="{FF2B5EF4-FFF2-40B4-BE49-F238E27FC236}">
                    <a16:creationId xmlns:a16="http://schemas.microsoft.com/office/drawing/2014/main" id="{E62B3273-388E-495A-BE04-D14A039BF444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6" name="直接连接符 1565">
                <a:extLst>
                  <a:ext uri="{FF2B5EF4-FFF2-40B4-BE49-F238E27FC236}">
                    <a16:creationId xmlns:a16="http://schemas.microsoft.com/office/drawing/2014/main" id="{E5CE876E-DF06-4EC0-B7F7-B87888FEC931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7" name="直接连接符 1566">
                <a:extLst>
                  <a:ext uri="{FF2B5EF4-FFF2-40B4-BE49-F238E27FC236}">
                    <a16:creationId xmlns:a16="http://schemas.microsoft.com/office/drawing/2014/main" id="{191D78FA-B8B0-423F-85AB-B6E027D1ABAA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8" name="直接连接符 1567">
                <a:extLst>
                  <a:ext uri="{FF2B5EF4-FFF2-40B4-BE49-F238E27FC236}">
                    <a16:creationId xmlns:a16="http://schemas.microsoft.com/office/drawing/2014/main" id="{FBBB971C-9A8D-4DDE-95D1-EB72B1ECF3CF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9" name="直接连接符 1568">
                <a:extLst>
                  <a:ext uri="{FF2B5EF4-FFF2-40B4-BE49-F238E27FC236}">
                    <a16:creationId xmlns:a16="http://schemas.microsoft.com/office/drawing/2014/main" id="{A19BAA07-6C67-4FC7-8B8E-482F00F3BFB2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57" name="组合 1556">
              <a:extLst>
                <a:ext uri="{FF2B5EF4-FFF2-40B4-BE49-F238E27FC236}">
                  <a16:creationId xmlns:a16="http://schemas.microsoft.com/office/drawing/2014/main" id="{7D1E4CEF-655D-41AC-83A1-09F6E3987852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1558" name="直接连接符 1557">
                <a:extLst>
                  <a:ext uri="{FF2B5EF4-FFF2-40B4-BE49-F238E27FC236}">
                    <a16:creationId xmlns:a16="http://schemas.microsoft.com/office/drawing/2014/main" id="{59A2F98B-8471-45B6-8E43-9000086A7BCC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9" name="直接连接符 1558">
                <a:extLst>
                  <a:ext uri="{FF2B5EF4-FFF2-40B4-BE49-F238E27FC236}">
                    <a16:creationId xmlns:a16="http://schemas.microsoft.com/office/drawing/2014/main" id="{EDB0D66A-B6B5-4E20-84AD-87FB6057D44E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0" name="直接连接符 1559">
                <a:extLst>
                  <a:ext uri="{FF2B5EF4-FFF2-40B4-BE49-F238E27FC236}">
                    <a16:creationId xmlns:a16="http://schemas.microsoft.com/office/drawing/2014/main" id="{CB8A872A-7322-4819-89AC-C859943FED6E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1" name="直接连接符 1560">
                <a:extLst>
                  <a:ext uri="{FF2B5EF4-FFF2-40B4-BE49-F238E27FC236}">
                    <a16:creationId xmlns:a16="http://schemas.microsoft.com/office/drawing/2014/main" id="{8C7CC38E-AE9E-40C2-9EBA-60D28FD6EF07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2" name="直接连接符 1561">
                <a:extLst>
                  <a:ext uri="{FF2B5EF4-FFF2-40B4-BE49-F238E27FC236}">
                    <a16:creationId xmlns:a16="http://schemas.microsoft.com/office/drawing/2014/main" id="{A2062B3B-7CAE-4BC6-AACC-3CC7DE4320FA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3" name="直接连接符 1562">
                <a:extLst>
                  <a:ext uri="{FF2B5EF4-FFF2-40B4-BE49-F238E27FC236}">
                    <a16:creationId xmlns:a16="http://schemas.microsoft.com/office/drawing/2014/main" id="{CB2C2B04-8A7A-4FCF-951D-FA1775335B6B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4" name="直接连接符 1563">
                <a:extLst>
                  <a:ext uri="{FF2B5EF4-FFF2-40B4-BE49-F238E27FC236}">
                    <a16:creationId xmlns:a16="http://schemas.microsoft.com/office/drawing/2014/main" id="{B99242F8-E337-4AA0-B0D1-9AAA2ADF0BCD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53" name="椭圆 1552">
            <a:extLst>
              <a:ext uri="{FF2B5EF4-FFF2-40B4-BE49-F238E27FC236}">
                <a16:creationId xmlns:a16="http://schemas.microsoft.com/office/drawing/2014/main" id="{598F868E-3137-4E6D-87EE-99F951128C33}"/>
              </a:ext>
            </a:extLst>
          </p:cNvPr>
          <p:cNvSpPr/>
          <p:nvPr userDrawn="1"/>
        </p:nvSpPr>
        <p:spPr>
          <a:xfrm>
            <a:off x="3821707" y="3503966"/>
            <a:ext cx="2041424" cy="2041424"/>
          </a:xfrm>
          <a:prstGeom prst="ellipse">
            <a:avLst/>
          </a:prstGeom>
          <a:gradFill>
            <a:gsLst>
              <a:gs pos="16000">
                <a:schemeClr val="accent1">
                  <a:lumMod val="50000"/>
                  <a:lumOff val="50000"/>
                  <a:alpha val="16000"/>
                </a:schemeClr>
              </a:gs>
              <a:gs pos="100000">
                <a:schemeClr val="accent3">
                  <a:alpha val="49000"/>
                </a:schemeClr>
              </a:gs>
            </a:gsLst>
            <a:lin ang="2700000" scaled="1"/>
          </a:gradFill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51" name="椭圆 1550">
            <a:extLst>
              <a:ext uri="{FF2B5EF4-FFF2-40B4-BE49-F238E27FC236}">
                <a16:creationId xmlns:a16="http://schemas.microsoft.com/office/drawing/2014/main" id="{78F9408A-4DFA-4997-9B35-6F3D357A66E8}"/>
              </a:ext>
            </a:extLst>
          </p:cNvPr>
          <p:cNvSpPr/>
          <p:nvPr userDrawn="1"/>
        </p:nvSpPr>
        <p:spPr>
          <a:xfrm>
            <a:off x="943585" y="192126"/>
            <a:ext cx="1218193" cy="1218193"/>
          </a:xfrm>
          <a:prstGeom prst="ellipse">
            <a:avLst/>
          </a:prstGeom>
          <a:gradFill>
            <a:gsLst>
              <a:gs pos="16000">
                <a:schemeClr val="accent1">
                  <a:lumMod val="50000"/>
                  <a:lumOff val="50000"/>
                  <a:alpha val="16000"/>
                </a:schemeClr>
              </a:gs>
              <a:gs pos="100000">
                <a:schemeClr val="accent3"/>
              </a:gs>
            </a:gsLst>
            <a:lin ang="2700000" scaled="1"/>
          </a:gradFill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1550" name="椭圆 1549">
            <a:extLst>
              <a:ext uri="{FF2B5EF4-FFF2-40B4-BE49-F238E27FC236}">
                <a16:creationId xmlns:a16="http://schemas.microsoft.com/office/drawing/2014/main" id="{9A10A08F-65CC-4E33-AF8D-0D7D64A9C80D}"/>
              </a:ext>
            </a:extLst>
          </p:cNvPr>
          <p:cNvSpPr/>
          <p:nvPr userDrawn="1"/>
        </p:nvSpPr>
        <p:spPr>
          <a:xfrm>
            <a:off x="7638896" y="584424"/>
            <a:ext cx="3992052" cy="3992052"/>
          </a:xfrm>
          <a:prstGeom prst="ellipse">
            <a:avLst/>
          </a:prstGeom>
          <a:gradFill>
            <a:gsLst>
              <a:gs pos="16000">
                <a:schemeClr val="accent1">
                  <a:lumMod val="50000"/>
                  <a:lumOff val="50000"/>
                  <a:alpha val="16000"/>
                </a:schemeClr>
              </a:gs>
              <a:gs pos="100000">
                <a:schemeClr val="accent3"/>
              </a:gs>
            </a:gsLst>
            <a:lin ang="2700000" scaled="1"/>
          </a:gradFill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847431"/>
            <a:ext cx="6954911" cy="2479262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249119"/>
            <a:ext cx="431482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590179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69925" y="1028700"/>
            <a:ext cx="4127955" cy="513270"/>
          </a:xfrm>
          <a:prstGeom prst="roundRect">
            <a:avLst>
              <a:gd name="adj" fmla="val 0"/>
            </a:avLst>
          </a:prstGeom>
          <a:noFill/>
        </p:spPr>
        <p:txBody>
          <a:bodyPr>
            <a:normAutofit/>
          </a:bodyPr>
          <a:lstStyle>
            <a:lvl1pPr marL="0" indent="0" algn="dist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altLang="zh-CN" sz="1400" kern="1200" dirty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altLang="zh-CN" dirty="0"/>
              <a:t>Click to edit Master subtitle style</a:t>
            </a:r>
          </a:p>
        </p:txBody>
      </p:sp>
      <p:grpSp>
        <p:nvGrpSpPr>
          <p:cNvPr id="1547" name="组合 1546">
            <a:extLst>
              <a:ext uri="{FF2B5EF4-FFF2-40B4-BE49-F238E27FC236}">
                <a16:creationId xmlns:a16="http://schemas.microsoft.com/office/drawing/2014/main" id="{FC6BF55A-59C1-45EF-9D3E-34DB65676D58}"/>
              </a:ext>
            </a:extLst>
          </p:cNvPr>
          <p:cNvGrpSpPr/>
          <p:nvPr userDrawn="1"/>
        </p:nvGrpSpPr>
        <p:grpSpPr>
          <a:xfrm flipH="1">
            <a:off x="6963704" y="2131147"/>
            <a:ext cx="4555196" cy="4726853"/>
            <a:chOff x="663550" y="1753174"/>
            <a:chExt cx="4224892" cy="4384101"/>
          </a:xfrm>
        </p:grpSpPr>
        <p:grpSp>
          <p:nvGrpSpPr>
            <p:cNvPr id="1546" name="组合 1545">
              <a:extLst>
                <a:ext uri="{FF2B5EF4-FFF2-40B4-BE49-F238E27FC236}">
                  <a16:creationId xmlns:a16="http://schemas.microsoft.com/office/drawing/2014/main" id="{6DAB9706-F4FF-4304-9A87-2B2EE9A9FFC7}"/>
                </a:ext>
              </a:extLst>
            </p:cNvPr>
            <p:cNvGrpSpPr/>
            <p:nvPr userDrawn="1"/>
          </p:nvGrpSpPr>
          <p:grpSpPr>
            <a:xfrm>
              <a:off x="838198" y="2361210"/>
              <a:ext cx="1358796" cy="553764"/>
              <a:chOff x="97285" y="2698479"/>
              <a:chExt cx="1358795" cy="553764"/>
            </a:xfrm>
          </p:grpSpPr>
          <p:sp>
            <p:nvSpPr>
              <p:cNvPr id="1348" name="矩形 1347">
                <a:extLst>
                  <a:ext uri="{FF2B5EF4-FFF2-40B4-BE49-F238E27FC236}">
                    <a16:creationId xmlns:a16="http://schemas.microsoft.com/office/drawing/2014/main" id="{8FC4676D-6305-4CD0-A0E2-7546AC5728A9}"/>
                  </a:ext>
                </a:extLst>
              </p:cNvPr>
              <p:cNvSpPr/>
              <p:nvPr userDrawn="1"/>
            </p:nvSpPr>
            <p:spPr bwMode="auto">
              <a:xfrm>
                <a:off x="97285" y="3125390"/>
                <a:ext cx="1358795" cy="126853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49" name="矩形 1348">
                <a:extLst>
                  <a:ext uri="{FF2B5EF4-FFF2-40B4-BE49-F238E27FC236}">
                    <a16:creationId xmlns:a16="http://schemas.microsoft.com/office/drawing/2014/main" id="{E358833A-A620-41DC-9DB6-2DC26B9D29EE}"/>
                  </a:ext>
                </a:extLst>
              </p:cNvPr>
              <p:cNvSpPr/>
              <p:nvPr userDrawn="1"/>
            </p:nvSpPr>
            <p:spPr bwMode="auto">
              <a:xfrm>
                <a:off x="355871" y="2913154"/>
                <a:ext cx="229312" cy="21223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0" name="矩形 1349">
                <a:extLst>
                  <a:ext uri="{FF2B5EF4-FFF2-40B4-BE49-F238E27FC236}">
                    <a16:creationId xmlns:a16="http://schemas.microsoft.com/office/drawing/2014/main" id="{7A0028C8-BB9C-474F-AEA1-A8751CC89996}"/>
                  </a:ext>
                </a:extLst>
              </p:cNvPr>
              <p:cNvSpPr/>
              <p:nvPr userDrawn="1"/>
            </p:nvSpPr>
            <p:spPr bwMode="auto">
              <a:xfrm>
                <a:off x="690081" y="2725314"/>
                <a:ext cx="126853" cy="40007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1" name="矩形 1350">
                <a:extLst>
                  <a:ext uri="{FF2B5EF4-FFF2-40B4-BE49-F238E27FC236}">
                    <a16:creationId xmlns:a16="http://schemas.microsoft.com/office/drawing/2014/main" id="{C7040DE1-478F-492F-8805-4F0F782B431D}"/>
                  </a:ext>
                </a:extLst>
              </p:cNvPr>
              <p:cNvSpPr/>
              <p:nvPr userDrawn="1"/>
            </p:nvSpPr>
            <p:spPr bwMode="auto">
              <a:xfrm>
                <a:off x="816934" y="2725314"/>
                <a:ext cx="126853" cy="40007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2" name="任意多边形: 形状 1351">
                <a:extLst>
                  <a:ext uri="{FF2B5EF4-FFF2-40B4-BE49-F238E27FC236}">
                    <a16:creationId xmlns:a16="http://schemas.microsoft.com/office/drawing/2014/main" id="{725A2441-D65F-4605-A8F5-FFB7DAC4E13C}"/>
                  </a:ext>
                </a:extLst>
              </p:cNvPr>
              <p:cNvSpPr/>
              <p:nvPr userDrawn="1"/>
            </p:nvSpPr>
            <p:spPr bwMode="auto">
              <a:xfrm>
                <a:off x="948667" y="2698479"/>
                <a:ext cx="290300" cy="422032"/>
              </a:xfrm>
              <a:custGeom>
                <a:avLst/>
                <a:gdLst>
                  <a:gd name="T0" fmla="*/ 119 w 119"/>
                  <a:gd name="T1" fmla="*/ 150 h 173"/>
                  <a:gd name="T2" fmla="*/ 71 w 119"/>
                  <a:gd name="T3" fmla="*/ 173 h 173"/>
                  <a:gd name="T4" fmla="*/ 0 w 119"/>
                  <a:gd name="T5" fmla="*/ 23 h 173"/>
                  <a:gd name="T6" fmla="*/ 48 w 119"/>
                  <a:gd name="T7" fmla="*/ 0 h 173"/>
                  <a:gd name="T8" fmla="*/ 119 w 119"/>
                  <a:gd name="T9" fmla="*/ 15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" h="173">
                    <a:moveTo>
                      <a:pt x="119" y="150"/>
                    </a:moveTo>
                    <a:lnTo>
                      <a:pt x="71" y="173"/>
                    </a:lnTo>
                    <a:lnTo>
                      <a:pt x="0" y="23"/>
                    </a:lnTo>
                    <a:lnTo>
                      <a:pt x="48" y="0"/>
                    </a:lnTo>
                    <a:lnTo>
                      <a:pt x="119" y="150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44" name="组合 1543">
              <a:extLst>
                <a:ext uri="{FF2B5EF4-FFF2-40B4-BE49-F238E27FC236}">
                  <a16:creationId xmlns:a16="http://schemas.microsoft.com/office/drawing/2014/main" id="{DCC2F795-704F-4942-942C-7399750D9F51}"/>
                </a:ext>
              </a:extLst>
            </p:cNvPr>
            <p:cNvGrpSpPr/>
            <p:nvPr userDrawn="1"/>
          </p:nvGrpSpPr>
          <p:grpSpPr>
            <a:xfrm>
              <a:off x="2600040" y="1753174"/>
              <a:ext cx="700134" cy="692816"/>
              <a:chOff x="5125249" y="2743947"/>
              <a:chExt cx="700134" cy="692816"/>
            </a:xfrm>
          </p:grpSpPr>
          <p:sp>
            <p:nvSpPr>
              <p:cNvPr id="1353" name="任意多边形: 形状 1352">
                <a:extLst>
                  <a:ext uri="{FF2B5EF4-FFF2-40B4-BE49-F238E27FC236}">
                    <a16:creationId xmlns:a16="http://schemas.microsoft.com/office/drawing/2014/main" id="{1F622AD0-FE28-46B5-851E-F97B995C2A1C}"/>
                  </a:ext>
                </a:extLst>
              </p:cNvPr>
              <p:cNvSpPr/>
              <p:nvPr userDrawn="1"/>
            </p:nvSpPr>
            <p:spPr bwMode="auto">
              <a:xfrm>
                <a:off x="5205752" y="2819571"/>
                <a:ext cx="539128" cy="546446"/>
              </a:xfrm>
              <a:custGeom>
                <a:avLst/>
                <a:gdLst>
                  <a:gd name="T0" fmla="*/ 221 w 221"/>
                  <a:gd name="T1" fmla="*/ 48 h 224"/>
                  <a:gd name="T2" fmla="*/ 171 w 221"/>
                  <a:gd name="T3" fmla="*/ 0 h 224"/>
                  <a:gd name="T4" fmla="*/ 0 w 221"/>
                  <a:gd name="T5" fmla="*/ 172 h 224"/>
                  <a:gd name="T6" fmla="*/ 54 w 221"/>
                  <a:gd name="T7" fmla="*/ 224 h 224"/>
                  <a:gd name="T8" fmla="*/ 221 w 221"/>
                  <a:gd name="T9" fmla="*/ 4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224">
                    <a:moveTo>
                      <a:pt x="221" y="48"/>
                    </a:moveTo>
                    <a:lnTo>
                      <a:pt x="171" y="0"/>
                    </a:lnTo>
                    <a:lnTo>
                      <a:pt x="0" y="172"/>
                    </a:lnTo>
                    <a:lnTo>
                      <a:pt x="54" y="224"/>
                    </a:lnTo>
                    <a:lnTo>
                      <a:pt x="221" y="48"/>
                    </a:lnTo>
                    <a:close/>
                  </a:path>
                </a:pathLst>
              </a:cu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4" name="椭圆 1353">
                <a:extLst>
                  <a:ext uri="{FF2B5EF4-FFF2-40B4-BE49-F238E27FC236}">
                    <a16:creationId xmlns:a16="http://schemas.microsoft.com/office/drawing/2014/main" id="{B43DBC29-5D74-47FF-A073-848B6748522D}"/>
                  </a:ext>
                </a:extLst>
              </p:cNvPr>
              <p:cNvSpPr/>
              <p:nvPr userDrawn="1"/>
            </p:nvSpPr>
            <p:spPr bwMode="auto">
              <a:xfrm>
                <a:off x="5232587" y="2839087"/>
                <a:ext cx="592796" cy="597676"/>
              </a:xfrm>
              <a:prstGeom prst="ellipse">
                <a:avLst/>
              </a:pr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5" name="椭圆 1354">
                <a:extLst>
                  <a:ext uri="{FF2B5EF4-FFF2-40B4-BE49-F238E27FC236}">
                    <a16:creationId xmlns:a16="http://schemas.microsoft.com/office/drawing/2014/main" id="{EC007A83-F32C-4B2B-9919-23DBE27C581E}"/>
                  </a:ext>
                </a:extLst>
              </p:cNvPr>
              <p:cNvSpPr/>
              <p:nvPr userDrawn="1"/>
            </p:nvSpPr>
            <p:spPr bwMode="auto">
              <a:xfrm>
                <a:off x="5125249" y="2743947"/>
                <a:ext cx="592796" cy="59279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6" name="直接连接符 1355">
                <a:extLst>
                  <a:ext uri="{FF2B5EF4-FFF2-40B4-BE49-F238E27FC236}">
                    <a16:creationId xmlns:a16="http://schemas.microsoft.com/office/drawing/2014/main" id="{2582C93A-95EF-4C07-B325-1CAB9AC5EC36}"/>
                  </a:ext>
                </a:extLst>
              </p:cNvPr>
              <p:cNvSpPr/>
              <p:nvPr userDrawn="1"/>
            </p:nvSpPr>
            <p:spPr bwMode="auto">
              <a:xfrm flipH="1">
                <a:off x="5425305" y="2919590"/>
                <a:ext cx="187841" cy="117095"/>
              </a:xfrm>
              <a:prstGeom prst="line">
                <a:avLst/>
              </a:prstGeom>
              <a:noFill/>
              <a:ln w="9525" cap="flat">
                <a:solidFill>
                  <a:srgbClr val="FE5D5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7" name="椭圆 1356">
                <a:extLst>
                  <a:ext uri="{FF2B5EF4-FFF2-40B4-BE49-F238E27FC236}">
                    <a16:creationId xmlns:a16="http://schemas.microsoft.com/office/drawing/2014/main" id="{D82A9C39-588C-4E80-89C1-0B34846E9503}"/>
                  </a:ext>
                </a:extLst>
              </p:cNvPr>
              <p:cNvSpPr/>
              <p:nvPr userDrawn="1"/>
            </p:nvSpPr>
            <p:spPr bwMode="auto">
              <a:xfrm>
                <a:off x="5378955" y="2997654"/>
                <a:ext cx="80504" cy="85383"/>
              </a:xfrm>
              <a:prstGeom prst="ellipse">
                <a:avLst/>
              </a:pr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358" name="直接连接符 1357">
                <a:extLst>
                  <a:ext uri="{FF2B5EF4-FFF2-40B4-BE49-F238E27FC236}">
                    <a16:creationId xmlns:a16="http://schemas.microsoft.com/office/drawing/2014/main" id="{B64CECB2-458C-4A59-AEB3-A8D5EB4A3600}"/>
                  </a:ext>
                </a:extLst>
              </p:cNvPr>
              <p:cNvSpPr/>
              <p:nvPr userDrawn="1"/>
            </p:nvSpPr>
            <p:spPr bwMode="auto">
              <a:xfrm>
                <a:off x="5317968" y="2946424"/>
                <a:ext cx="95141" cy="90261"/>
              </a:xfrm>
              <a:prstGeom prst="line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59" name="直接连接符 1358">
              <a:extLst>
                <a:ext uri="{FF2B5EF4-FFF2-40B4-BE49-F238E27FC236}">
                  <a16:creationId xmlns:a16="http://schemas.microsoft.com/office/drawing/2014/main" id="{CE46CE85-E679-40A2-9DE8-0034F1C31E30}"/>
                </a:ext>
              </a:extLst>
            </p:cNvPr>
            <p:cNvSpPr/>
            <p:nvPr userDrawn="1"/>
          </p:nvSpPr>
          <p:spPr bwMode="auto">
            <a:xfrm>
              <a:off x="2056195" y="5062345"/>
              <a:ext cx="663541" cy="1051420"/>
            </a:xfrm>
            <a:prstGeom prst="line">
              <a:avLst/>
            </a:pr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0" name="直接连接符 1359">
              <a:extLst>
                <a:ext uri="{FF2B5EF4-FFF2-40B4-BE49-F238E27FC236}">
                  <a16:creationId xmlns:a16="http://schemas.microsoft.com/office/drawing/2014/main" id="{E7C5A1AD-98BF-4FC6-AD7B-D360941BA1AE}"/>
                </a:ext>
              </a:extLst>
            </p:cNvPr>
            <p:cNvSpPr/>
            <p:nvPr userDrawn="1"/>
          </p:nvSpPr>
          <p:spPr bwMode="auto">
            <a:xfrm flipH="1">
              <a:off x="2024481" y="5062345"/>
              <a:ext cx="614751" cy="1051420"/>
            </a:xfrm>
            <a:prstGeom prst="line">
              <a:avLst/>
            </a:pr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1" name="任意多边形: 形状 1360">
              <a:extLst>
                <a:ext uri="{FF2B5EF4-FFF2-40B4-BE49-F238E27FC236}">
                  <a16:creationId xmlns:a16="http://schemas.microsoft.com/office/drawing/2014/main" id="{BDE2B436-218E-4474-8F1A-E1E7977F0180}"/>
                </a:ext>
              </a:extLst>
            </p:cNvPr>
            <p:cNvSpPr/>
            <p:nvPr userDrawn="1"/>
          </p:nvSpPr>
          <p:spPr bwMode="auto">
            <a:xfrm>
              <a:off x="1558539" y="3627925"/>
              <a:ext cx="1273414" cy="1617382"/>
            </a:xfrm>
            <a:custGeom>
              <a:avLst/>
              <a:gdLst>
                <a:gd name="T0" fmla="*/ 247 w 251"/>
                <a:gd name="T1" fmla="*/ 300 h 319"/>
                <a:gd name="T2" fmla="*/ 143 w 251"/>
                <a:gd name="T3" fmla="*/ 311 h 319"/>
                <a:gd name="T4" fmla="*/ 4 w 251"/>
                <a:gd name="T5" fmla="*/ 163 h 319"/>
                <a:gd name="T6" fmla="*/ 52 w 251"/>
                <a:gd name="T7" fmla="*/ 0 h 319"/>
                <a:gd name="T8" fmla="*/ 251 w 251"/>
                <a:gd name="T9" fmla="*/ 209 h 319"/>
                <a:gd name="T10" fmla="*/ 247 w 251"/>
                <a:gd name="T11" fmla="*/ 30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319">
                  <a:moveTo>
                    <a:pt x="247" y="300"/>
                  </a:moveTo>
                  <a:cubicBezTo>
                    <a:pt x="247" y="300"/>
                    <a:pt x="226" y="319"/>
                    <a:pt x="143" y="311"/>
                  </a:cubicBezTo>
                  <a:cubicBezTo>
                    <a:pt x="60" y="302"/>
                    <a:pt x="8" y="259"/>
                    <a:pt x="4" y="163"/>
                  </a:cubicBezTo>
                  <a:cubicBezTo>
                    <a:pt x="0" y="67"/>
                    <a:pt x="52" y="0"/>
                    <a:pt x="52" y="0"/>
                  </a:cubicBezTo>
                  <a:cubicBezTo>
                    <a:pt x="251" y="209"/>
                    <a:pt x="251" y="209"/>
                    <a:pt x="251" y="209"/>
                  </a:cubicBezTo>
                  <a:lnTo>
                    <a:pt x="247" y="3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2" name="任意多边形: 形状 1361">
              <a:extLst>
                <a:ext uri="{FF2B5EF4-FFF2-40B4-BE49-F238E27FC236}">
                  <a16:creationId xmlns:a16="http://schemas.microsoft.com/office/drawing/2014/main" id="{383847FB-2F6D-40B8-9845-CFCA0A790DD3}"/>
                </a:ext>
              </a:extLst>
            </p:cNvPr>
            <p:cNvSpPr/>
            <p:nvPr userDrawn="1"/>
          </p:nvSpPr>
          <p:spPr bwMode="auto">
            <a:xfrm>
              <a:off x="1524386" y="3257122"/>
              <a:ext cx="1166076" cy="624510"/>
            </a:xfrm>
            <a:custGeom>
              <a:avLst/>
              <a:gdLst>
                <a:gd name="T0" fmla="*/ 105 w 230"/>
                <a:gd name="T1" fmla="*/ 16 h 123"/>
                <a:gd name="T2" fmla="*/ 61 w 230"/>
                <a:gd name="T3" fmla="*/ 33 h 123"/>
                <a:gd name="T4" fmla="*/ 19 w 230"/>
                <a:gd name="T5" fmla="*/ 60 h 123"/>
                <a:gd name="T6" fmla="*/ 49 w 230"/>
                <a:gd name="T7" fmla="*/ 123 h 123"/>
                <a:gd name="T8" fmla="*/ 191 w 230"/>
                <a:gd name="T9" fmla="*/ 117 h 123"/>
                <a:gd name="T10" fmla="*/ 184 w 230"/>
                <a:gd name="T11" fmla="*/ 47 h 123"/>
                <a:gd name="T12" fmla="*/ 153 w 230"/>
                <a:gd name="T13" fmla="*/ 22 h 123"/>
                <a:gd name="T14" fmla="*/ 105 w 230"/>
                <a:gd name="T15" fmla="*/ 1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0" h="123">
                  <a:moveTo>
                    <a:pt x="105" y="16"/>
                  </a:moveTo>
                  <a:cubicBezTo>
                    <a:pt x="105" y="16"/>
                    <a:pt x="68" y="0"/>
                    <a:pt x="61" y="33"/>
                  </a:cubicBezTo>
                  <a:cubicBezTo>
                    <a:pt x="61" y="33"/>
                    <a:pt x="33" y="29"/>
                    <a:pt x="19" y="60"/>
                  </a:cubicBezTo>
                  <a:cubicBezTo>
                    <a:pt x="0" y="103"/>
                    <a:pt x="49" y="123"/>
                    <a:pt x="49" y="123"/>
                  </a:cubicBezTo>
                  <a:cubicBezTo>
                    <a:pt x="191" y="117"/>
                    <a:pt x="191" y="117"/>
                    <a:pt x="191" y="117"/>
                  </a:cubicBezTo>
                  <a:cubicBezTo>
                    <a:pt x="191" y="117"/>
                    <a:pt x="230" y="66"/>
                    <a:pt x="184" y="47"/>
                  </a:cubicBezTo>
                  <a:cubicBezTo>
                    <a:pt x="184" y="47"/>
                    <a:pt x="184" y="15"/>
                    <a:pt x="153" y="22"/>
                  </a:cubicBezTo>
                  <a:lnTo>
                    <a:pt x="105" y="16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3" name="任意多边形: 形状 1362">
              <a:extLst>
                <a:ext uri="{FF2B5EF4-FFF2-40B4-BE49-F238E27FC236}">
                  <a16:creationId xmlns:a16="http://schemas.microsoft.com/office/drawing/2014/main" id="{6E446FF9-41C3-4E43-96B1-35160BA79E8C}"/>
                </a:ext>
              </a:extLst>
            </p:cNvPr>
            <p:cNvSpPr/>
            <p:nvPr userDrawn="1"/>
          </p:nvSpPr>
          <p:spPr bwMode="auto">
            <a:xfrm>
              <a:off x="3334487" y="5635623"/>
              <a:ext cx="263465" cy="324453"/>
            </a:xfrm>
            <a:custGeom>
              <a:avLst/>
              <a:gdLst>
                <a:gd name="T0" fmla="*/ 108 w 108"/>
                <a:gd name="T1" fmla="*/ 133 h 133"/>
                <a:gd name="T2" fmla="*/ 36 w 108"/>
                <a:gd name="T3" fmla="*/ 133 h 133"/>
                <a:gd name="T4" fmla="*/ 0 w 108"/>
                <a:gd name="T5" fmla="*/ 17 h 133"/>
                <a:gd name="T6" fmla="*/ 69 w 108"/>
                <a:gd name="T7" fmla="*/ 0 h 133"/>
                <a:gd name="T8" fmla="*/ 108 w 108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33">
                  <a:moveTo>
                    <a:pt x="108" y="133"/>
                  </a:moveTo>
                  <a:lnTo>
                    <a:pt x="36" y="133"/>
                  </a:lnTo>
                  <a:lnTo>
                    <a:pt x="0" y="17"/>
                  </a:lnTo>
                  <a:lnTo>
                    <a:pt x="69" y="0"/>
                  </a:lnTo>
                  <a:lnTo>
                    <a:pt x="108" y="133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4" name="任意多边形: 形状 1363">
              <a:extLst>
                <a:ext uri="{FF2B5EF4-FFF2-40B4-BE49-F238E27FC236}">
                  <a16:creationId xmlns:a16="http://schemas.microsoft.com/office/drawing/2014/main" id="{56E68329-9A93-4A22-93F6-023785F2D521}"/>
                </a:ext>
              </a:extLst>
            </p:cNvPr>
            <p:cNvSpPr/>
            <p:nvPr userDrawn="1"/>
          </p:nvSpPr>
          <p:spPr bwMode="auto">
            <a:xfrm>
              <a:off x="3366201" y="5906408"/>
              <a:ext cx="531808" cy="161006"/>
            </a:xfrm>
            <a:custGeom>
              <a:avLst/>
              <a:gdLst>
                <a:gd name="T0" fmla="*/ 10 w 105"/>
                <a:gd name="T1" fmla="*/ 3 h 32"/>
                <a:gd name="T2" fmla="*/ 45 w 105"/>
                <a:gd name="T3" fmla="*/ 0 h 32"/>
                <a:gd name="T4" fmla="*/ 105 w 105"/>
                <a:gd name="T5" fmla="*/ 32 h 32"/>
                <a:gd name="T6" fmla="*/ 0 w 105"/>
                <a:gd name="T7" fmla="*/ 32 h 32"/>
                <a:gd name="T8" fmla="*/ 5 w 105"/>
                <a:gd name="T9" fmla="*/ 7 h 32"/>
                <a:gd name="T10" fmla="*/ 10 w 105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2">
                  <a:moveTo>
                    <a:pt x="10" y="3"/>
                  </a:moveTo>
                  <a:cubicBezTo>
                    <a:pt x="18" y="6"/>
                    <a:pt x="37" y="13"/>
                    <a:pt x="45" y="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4"/>
                    <a:pt x="7" y="3"/>
                    <a:pt x="10" y="3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5" name="矩形 1364">
              <a:extLst>
                <a:ext uri="{FF2B5EF4-FFF2-40B4-BE49-F238E27FC236}">
                  <a16:creationId xmlns:a16="http://schemas.microsoft.com/office/drawing/2014/main" id="{8983154F-B837-461C-950D-D1363AB04923}"/>
                </a:ext>
              </a:extLst>
            </p:cNvPr>
            <p:cNvSpPr/>
            <p:nvPr userDrawn="1"/>
          </p:nvSpPr>
          <p:spPr bwMode="auto">
            <a:xfrm>
              <a:off x="3366201" y="6067414"/>
              <a:ext cx="531808" cy="463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6" name="任意多边形: 形状 1365">
              <a:extLst>
                <a:ext uri="{FF2B5EF4-FFF2-40B4-BE49-F238E27FC236}">
                  <a16:creationId xmlns:a16="http://schemas.microsoft.com/office/drawing/2014/main" id="{C0E476F7-9D7D-40D1-973A-D8BDA956B134}"/>
                </a:ext>
              </a:extLst>
            </p:cNvPr>
            <p:cNvSpPr/>
            <p:nvPr userDrawn="1"/>
          </p:nvSpPr>
          <p:spPr bwMode="auto">
            <a:xfrm>
              <a:off x="2812437" y="4596401"/>
              <a:ext cx="826989" cy="1222184"/>
            </a:xfrm>
            <a:custGeom>
              <a:avLst/>
              <a:gdLst>
                <a:gd name="T0" fmla="*/ 0 w 163"/>
                <a:gd name="T1" fmla="*/ 0 h 241"/>
                <a:gd name="T2" fmla="*/ 66 w 163"/>
                <a:gd name="T3" fmla="*/ 23 h 241"/>
                <a:gd name="T4" fmla="*/ 103 w 163"/>
                <a:gd name="T5" fmla="*/ 60 h 241"/>
                <a:gd name="T6" fmla="*/ 163 w 163"/>
                <a:gd name="T7" fmla="*/ 234 h 241"/>
                <a:gd name="T8" fmla="*/ 100 w 163"/>
                <a:gd name="T9" fmla="*/ 241 h 241"/>
                <a:gd name="T10" fmla="*/ 31 w 163"/>
                <a:gd name="T11" fmla="*/ 71 h 241"/>
                <a:gd name="T12" fmla="*/ 0 w 163"/>
                <a:gd name="T13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241">
                  <a:moveTo>
                    <a:pt x="0" y="0"/>
                  </a:moveTo>
                  <a:cubicBezTo>
                    <a:pt x="66" y="23"/>
                    <a:pt x="66" y="23"/>
                    <a:pt x="66" y="23"/>
                  </a:cubicBezTo>
                  <a:cubicBezTo>
                    <a:pt x="84" y="28"/>
                    <a:pt x="97" y="42"/>
                    <a:pt x="103" y="60"/>
                  </a:cubicBezTo>
                  <a:cubicBezTo>
                    <a:pt x="163" y="234"/>
                    <a:pt x="163" y="234"/>
                    <a:pt x="163" y="234"/>
                  </a:cubicBezTo>
                  <a:cubicBezTo>
                    <a:pt x="100" y="241"/>
                    <a:pt x="100" y="241"/>
                    <a:pt x="100" y="241"/>
                  </a:cubicBezTo>
                  <a:cubicBezTo>
                    <a:pt x="31" y="71"/>
                    <a:pt x="31" y="71"/>
                    <a:pt x="31" y="7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D3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7" name="任意多边形: 形状 1366">
              <a:extLst>
                <a:ext uri="{FF2B5EF4-FFF2-40B4-BE49-F238E27FC236}">
                  <a16:creationId xmlns:a16="http://schemas.microsoft.com/office/drawing/2014/main" id="{C2F92A0E-DD04-407A-9C28-4D3B6FF2AA17}"/>
                </a:ext>
              </a:extLst>
            </p:cNvPr>
            <p:cNvSpPr/>
            <p:nvPr userDrawn="1"/>
          </p:nvSpPr>
          <p:spPr bwMode="auto">
            <a:xfrm>
              <a:off x="2522137" y="5677096"/>
              <a:ext cx="275664" cy="282981"/>
            </a:xfrm>
            <a:custGeom>
              <a:avLst/>
              <a:gdLst>
                <a:gd name="T0" fmla="*/ 73 w 113"/>
                <a:gd name="T1" fmla="*/ 116 h 116"/>
                <a:gd name="T2" fmla="*/ 0 w 113"/>
                <a:gd name="T3" fmla="*/ 116 h 116"/>
                <a:gd name="T4" fmla="*/ 38 w 113"/>
                <a:gd name="T5" fmla="*/ 0 h 116"/>
                <a:gd name="T6" fmla="*/ 113 w 113"/>
                <a:gd name="T7" fmla="*/ 0 h 116"/>
                <a:gd name="T8" fmla="*/ 73 w 113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6">
                  <a:moveTo>
                    <a:pt x="73" y="116"/>
                  </a:moveTo>
                  <a:lnTo>
                    <a:pt x="0" y="116"/>
                  </a:lnTo>
                  <a:lnTo>
                    <a:pt x="38" y="0"/>
                  </a:lnTo>
                  <a:lnTo>
                    <a:pt x="113" y="0"/>
                  </a:lnTo>
                  <a:lnTo>
                    <a:pt x="73" y="116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8" name="任意多边形: 形状 1367">
              <a:extLst>
                <a:ext uri="{FF2B5EF4-FFF2-40B4-BE49-F238E27FC236}">
                  <a16:creationId xmlns:a16="http://schemas.microsoft.com/office/drawing/2014/main" id="{A8FAB1EA-C620-4D68-AFB6-81E95AD32AB2}"/>
                </a:ext>
              </a:extLst>
            </p:cNvPr>
            <p:cNvSpPr/>
            <p:nvPr userDrawn="1"/>
          </p:nvSpPr>
          <p:spPr bwMode="auto">
            <a:xfrm>
              <a:off x="2483106" y="5906408"/>
              <a:ext cx="531808" cy="161006"/>
            </a:xfrm>
            <a:custGeom>
              <a:avLst/>
              <a:gdLst>
                <a:gd name="T0" fmla="*/ 10 w 105"/>
                <a:gd name="T1" fmla="*/ 3 h 32"/>
                <a:gd name="T2" fmla="*/ 46 w 105"/>
                <a:gd name="T3" fmla="*/ 0 h 32"/>
                <a:gd name="T4" fmla="*/ 105 w 105"/>
                <a:gd name="T5" fmla="*/ 32 h 32"/>
                <a:gd name="T6" fmla="*/ 0 w 105"/>
                <a:gd name="T7" fmla="*/ 32 h 32"/>
                <a:gd name="T8" fmla="*/ 5 w 105"/>
                <a:gd name="T9" fmla="*/ 7 h 32"/>
                <a:gd name="T10" fmla="*/ 10 w 105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2">
                  <a:moveTo>
                    <a:pt x="10" y="3"/>
                  </a:moveTo>
                  <a:cubicBezTo>
                    <a:pt x="18" y="6"/>
                    <a:pt x="37" y="13"/>
                    <a:pt x="46" y="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3"/>
                    <a:pt x="10" y="3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69" name="矩形 1368">
              <a:extLst>
                <a:ext uri="{FF2B5EF4-FFF2-40B4-BE49-F238E27FC236}">
                  <a16:creationId xmlns:a16="http://schemas.microsoft.com/office/drawing/2014/main" id="{D51CAB55-220E-487D-A33E-D49CC1976C79}"/>
                </a:ext>
              </a:extLst>
            </p:cNvPr>
            <p:cNvSpPr/>
            <p:nvPr userDrawn="1"/>
          </p:nvSpPr>
          <p:spPr bwMode="auto">
            <a:xfrm>
              <a:off x="2483106" y="6067414"/>
              <a:ext cx="531808" cy="463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0" name="任意多边形: 形状 1369">
              <a:extLst>
                <a:ext uri="{FF2B5EF4-FFF2-40B4-BE49-F238E27FC236}">
                  <a16:creationId xmlns:a16="http://schemas.microsoft.com/office/drawing/2014/main" id="{4DEA6710-A4BE-4F8D-A2D9-FF6605DA96CA}"/>
                </a:ext>
              </a:extLst>
            </p:cNvPr>
            <p:cNvSpPr/>
            <p:nvPr userDrawn="1"/>
          </p:nvSpPr>
          <p:spPr bwMode="auto">
            <a:xfrm>
              <a:off x="1853717" y="4554931"/>
              <a:ext cx="1302687" cy="1253898"/>
            </a:xfrm>
            <a:custGeom>
              <a:avLst/>
              <a:gdLst>
                <a:gd name="T0" fmla="*/ 25 w 257"/>
                <a:gd name="T1" fmla="*/ 0 h 247"/>
                <a:gd name="T2" fmla="*/ 49 w 257"/>
                <a:gd name="T3" fmla="*/ 82 h 247"/>
                <a:gd name="T4" fmla="*/ 178 w 257"/>
                <a:gd name="T5" fmla="*/ 89 h 247"/>
                <a:gd name="T6" fmla="*/ 130 w 257"/>
                <a:gd name="T7" fmla="*/ 241 h 247"/>
                <a:gd name="T8" fmla="*/ 189 w 257"/>
                <a:gd name="T9" fmla="*/ 247 h 247"/>
                <a:gd name="T10" fmla="*/ 249 w 257"/>
                <a:gd name="T11" fmla="*/ 84 h 247"/>
                <a:gd name="T12" fmla="*/ 230 w 257"/>
                <a:gd name="T13" fmla="*/ 32 h 247"/>
                <a:gd name="T14" fmla="*/ 175 w 257"/>
                <a:gd name="T15" fmla="*/ 0 h 247"/>
                <a:gd name="T16" fmla="*/ 25 w 257"/>
                <a:gd name="T17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247">
                  <a:moveTo>
                    <a:pt x="25" y="0"/>
                  </a:moveTo>
                  <a:cubicBezTo>
                    <a:pt x="25" y="0"/>
                    <a:pt x="0" y="62"/>
                    <a:pt x="49" y="82"/>
                  </a:cubicBezTo>
                  <a:cubicBezTo>
                    <a:pt x="49" y="82"/>
                    <a:pt x="86" y="94"/>
                    <a:pt x="178" y="89"/>
                  </a:cubicBezTo>
                  <a:cubicBezTo>
                    <a:pt x="130" y="241"/>
                    <a:pt x="130" y="241"/>
                    <a:pt x="130" y="241"/>
                  </a:cubicBezTo>
                  <a:cubicBezTo>
                    <a:pt x="189" y="247"/>
                    <a:pt x="189" y="247"/>
                    <a:pt x="189" y="247"/>
                  </a:cubicBezTo>
                  <a:cubicBezTo>
                    <a:pt x="249" y="84"/>
                    <a:pt x="249" y="84"/>
                    <a:pt x="249" y="84"/>
                  </a:cubicBezTo>
                  <a:cubicBezTo>
                    <a:pt x="257" y="64"/>
                    <a:pt x="249" y="42"/>
                    <a:pt x="230" y="32"/>
                  </a:cubicBezTo>
                  <a:cubicBezTo>
                    <a:pt x="175" y="0"/>
                    <a:pt x="175" y="0"/>
                    <a:pt x="175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415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1" name="任意多边形: 形状 1370">
              <a:extLst>
                <a:ext uri="{FF2B5EF4-FFF2-40B4-BE49-F238E27FC236}">
                  <a16:creationId xmlns:a16="http://schemas.microsoft.com/office/drawing/2014/main" id="{F42F9428-09E7-40BA-9CC4-E331E248B5CA}"/>
                </a:ext>
              </a:extLst>
            </p:cNvPr>
            <p:cNvSpPr/>
            <p:nvPr userDrawn="1"/>
          </p:nvSpPr>
          <p:spPr bwMode="auto">
            <a:xfrm>
              <a:off x="2366010" y="3671836"/>
              <a:ext cx="278101" cy="722089"/>
            </a:xfrm>
            <a:custGeom>
              <a:avLst/>
              <a:gdLst>
                <a:gd name="T0" fmla="*/ 6 w 55"/>
                <a:gd name="T1" fmla="*/ 0 h 142"/>
                <a:gd name="T2" fmla="*/ 29 w 55"/>
                <a:gd name="T3" fmla="*/ 24 h 142"/>
                <a:gd name="T4" fmla="*/ 55 w 55"/>
                <a:gd name="T5" fmla="*/ 106 h 142"/>
                <a:gd name="T6" fmla="*/ 8 w 55"/>
                <a:gd name="T7" fmla="*/ 142 h 142"/>
                <a:gd name="T8" fmla="*/ 0 w 55"/>
                <a:gd name="T9" fmla="*/ 71 h 142"/>
                <a:gd name="T10" fmla="*/ 6 w 55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42">
                  <a:moveTo>
                    <a:pt x="6" y="0"/>
                  </a:moveTo>
                  <a:cubicBezTo>
                    <a:pt x="6" y="0"/>
                    <a:pt x="22" y="0"/>
                    <a:pt x="29" y="24"/>
                  </a:cubicBezTo>
                  <a:cubicBezTo>
                    <a:pt x="36" y="48"/>
                    <a:pt x="55" y="106"/>
                    <a:pt x="55" y="106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0" y="71"/>
                    <a:pt x="0" y="71"/>
                    <a:pt x="0" y="7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2" name="任意多边形: 形状 1371">
              <a:extLst>
                <a:ext uri="{FF2B5EF4-FFF2-40B4-BE49-F238E27FC236}">
                  <a16:creationId xmlns:a16="http://schemas.microsoft.com/office/drawing/2014/main" id="{23D16B50-5A46-4E2F-B915-B523A32F6734}"/>
                </a:ext>
              </a:extLst>
            </p:cNvPr>
            <p:cNvSpPr/>
            <p:nvPr userDrawn="1"/>
          </p:nvSpPr>
          <p:spPr bwMode="auto">
            <a:xfrm>
              <a:off x="3095418" y="4379287"/>
              <a:ext cx="402517" cy="114657"/>
            </a:xfrm>
            <a:custGeom>
              <a:avLst/>
              <a:gdLst>
                <a:gd name="T0" fmla="*/ 4 w 79"/>
                <a:gd name="T1" fmla="*/ 0 h 23"/>
                <a:gd name="T2" fmla="*/ 45 w 79"/>
                <a:gd name="T3" fmla="*/ 0 h 23"/>
                <a:gd name="T4" fmla="*/ 66 w 79"/>
                <a:gd name="T5" fmla="*/ 7 h 23"/>
                <a:gd name="T6" fmla="*/ 79 w 79"/>
                <a:gd name="T7" fmla="*/ 18 h 23"/>
                <a:gd name="T8" fmla="*/ 72 w 79"/>
                <a:gd name="T9" fmla="*/ 23 h 23"/>
                <a:gd name="T10" fmla="*/ 0 w 79"/>
                <a:gd name="T11" fmla="*/ 23 h 23"/>
                <a:gd name="T12" fmla="*/ 4 w 79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3">
                  <a:moveTo>
                    <a:pt x="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53" y="0"/>
                    <a:pt x="60" y="3"/>
                    <a:pt x="66" y="7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3" name="任意多边形: 形状 1372">
              <a:extLst>
                <a:ext uri="{FF2B5EF4-FFF2-40B4-BE49-F238E27FC236}">
                  <a16:creationId xmlns:a16="http://schemas.microsoft.com/office/drawing/2014/main" id="{5A4BCE81-5719-43E4-AF46-BF3D662160BD}"/>
                </a:ext>
              </a:extLst>
            </p:cNvPr>
            <p:cNvSpPr/>
            <p:nvPr userDrawn="1"/>
          </p:nvSpPr>
          <p:spPr bwMode="auto">
            <a:xfrm>
              <a:off x="2451393" y="4210961"/>
              <a:ext cx="695256" cy="253707"/>
            </a:xfrm>
            <a:custGeom>
              <a:avLst/>
              <a:gdLst>
                <a:gd name="T0" fmla="*/ 79 w 285"/>
                <a:gd name="T1" fmla="*/ 0 h 104"/>
                <a:gd name="T2" fmla="*/ 285 w 285"/>
                <a:gd name="T3" fmla="*/ 46 h 104"/>
                <a:gd name="T4" fmla="*/ 279 w 285"/>
                <a:gd name="T5" fmla="*/ 104 h 104"/>
                <a:gd name="T6" fmla="*/ 6 w 285"/>
                <a:gd name="T7" fmla="*/ 104 h 104"/>
                <a:gd name="T8" fmla="*/ 0 w 285"/>
                <a:gd name="T9" fmla="*/ 8 h 104"/>
                <a:gd name="T10" fmla="*/ 79 w 285"/>
                <a:gd name="T1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104">
                  <a:moveTo>
                    <a:pt x="79" y="0"/>
                  </a:moveTo>
                  <a:lnTo>
                    <a:pt x="285" y="46"/>
                  </a:lnTo>
                  <a:lnTo>
                    <a:pt x="279" y="104"/>
                  </a:lnTo>
                  <a:lnTo>
                    <a:pt x="6" y="104"/>
                  </a:lnTo>
                  <a:lnTo>
                    <a:pt x="0" y="8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4" name="任意多边形: 形状 1373">
              <a:extLst>
                <a:ext uri="{FF2B5EF4-FFF2-40B4-BE49-F238E27FC236}">
                  <a16:creationId xmlns:a16="http://schemas.microsoft.com/office/drawing/2014/main" id="{9BC68D76-A3FF-4721-8B87-221DE8825D59}"/>
                </a:ext>
              </a:extLst>
            </p:cNvPr>
            <p:cNvSpPr/>
            <p:nvPr userDrawn="1"/>
          </p:nvSpPr>
          <p:spPr bwMode="auto">
            <a:xfrm>
              <a:off x="1863474" y="3605968"/>
              <a:ext cx="639146" cy="887975"/>
            </a:xfrm>
            <a:custGeom>
              <a:avLst/>
              <a:gdLst>
                <a:gd name="T0" fmla="*/ 46 w 126"/>
                <a:gd name="T1" fmla="*/ 0 h 175"/>
                <a:gd name="T2" fmla="*/ 0 w 126"/>
                <a:gd name="T3" fmla="*/ 16 h 175"/>
                <a:gd name="T4" fmla="*/ 20 w 126"/>
                <a:gd name="T5" fmla="*/ 175 h 175"/>
                <a:gd name="T6" fmla="*/ 114 w 126"/>
                <a:gd name="T7" fmla="*/ 175 h 175"/>
                <a:gd name="T8" fmla="*/ 118 w 126"/>
                <a:gd name="T9" fmla="*/ 101 h 175"/>
                <a:gd name="T10" fmla="*/ 125 w 126"/>
                <a:gd name="T11" fmla="*/ 75 h 175"/>
                <a:gd name="T12" fmla="*/ 112 w 126"/>
                <a:gd name="T13" fmla="*/ 25 h 175"/>
                <a:gd name="T14" fmla="*/ 105 w 126"/>
                <a:gd name="T15" fmla="*/ 13 h 175"/>
                <a:gd name="T16" fmla="*/ 69 w 126"/>
                <a:gd name="T17" fmla="*/ 2 h 175"/>
                <a:gd name="T18" fmla="*/ 46 w 126"/>
                <a:gd name="T1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" h="175">
                  <a:moveTo>
                    <a:pt x="46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20" y="175"/>
                    <a:pt x="20" y="175"/>
                    <a:pt x="20" y="175"/>
                  </a:cubicBezTo>
                  <a:cubicBezTo>
                    <a:pt x="114" y="175"/>
                    <a:pt x="114" y="175"/>
                    <a:pt x="114" y="175"/>
                  </a:cubicBezTo>
                  <a:cubicBezTo>
                    <a:pt x="118" y="101"/>
                    <a:pt x="118" y="101"/>
                    <a:pt x="118" y="101"/>
                  </a:cubicBezTo>
                  <a:cubicBezTo>
                    <a:pt x="118" y="101"/>
                    <a:pt x="124" y="94"/>
                    <a:pt x="125" y="75"/>
                  </a:cubicBezTo>
                  <a:cubicBezTo>
                    <a:pt x="126" y="56"/>
                    <a:pt x="122" y="41"/>
                    <a:pt x="112" y="25"/>
                  </a:cubicBezTo>
                  <a:cubicBezTo>
                    <a:pt x="105" y="13"/>
                    <a:pt x="105" y="13"/>
                    <a:pt x="105" y="13"/>
                  </a:cubicBezTo>
                  <a:cubicBezTo>
                    <a:pt x="69" y="2"/>
                    <a:pt x="69" y="2"/>
                    <a:pt x="69" y="2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5" name="任意多边形: 形状 1374">
              <a:extLst>
                <a:ext uri="{FF2B5EF4-FFF2-40B4-BE49-F238E27FC236}">
                  <a16:creationId xmlns:a16="http://schemas.microsoft.com/office/drawing/2014/main" id="{3CF6F8A9-B35C-4A37-B52C-2A3A4EC6568D}"/>
                </a:ext>
              </a:extLst>
            </p:cNvPr>
            <p:cNvSpPr/>
            <p:nvPr userDrawn="1"/>
          </p:nvSpPr>
          <p:spPr bwMode="auto">
            <a:xfrm>
              <a:off x="2441635" y="3840160"/>
              <a:ext cx="97580" cy="465943"/>
            </a:xfrm>
            <a:custGeom>
              <a:avLst/>
              <a:gdLst>
                <a:gd name="T0" fmla="*/ 0 w 19"/>
                <a:gd name="T1" fmla="*/ 0 h 92"/>
                <a:gd name="T2" fmla="*/ 4 w 19"/>
                <a:gd name="T3" fmla="*/ 63 h 92"/>
                <a:gd name="T4" fmla="*/ 3 w 19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2">
                  <a:moveTo>
                    <a:pt x="0" y="0"/>
                  </a:moveTo>
                  <a:cubicBezTo>
                    <a:pt x="0" y="0"/>
                    <a:pt x="19" y="28"/>
                    <a:pt x="4" y="63"/>
                  </a:cubicBezTo>
                  <a:cubicBezTo>
                    <a:pt x="3" y="92"/>
                    <a:pt x="3" y="92"/>
                    <a:pt x="3" y="92"/>
                  </a:cubicBezTo>
                </a:path>
              </a:pathLst>
            </a:cu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6" name="任意多边形: 形状 1375">
              <a:extLst>
                <a:ext uri="{FF2B5EF4-FFF2-40B4-BE49-F238E27FC236}">
                  <a16:creationId xmlns:a16="http://schemas.microsoft.com/office/drawing/2014/main" id="{5B60C4BE-F0E7-4430-B8D5-5D0D0E9742B1}"/>
                </a:ext>
              </a:extLst>
            </p:cNvPr>
            <p:cNvSpPr/>
            <p:nvPr userDrawn="1"/>
          </p:nvSpPr>
          <p:spPr bwMode="auto">
            <a:xfrm>
              <a:off x="1756138" y="3688912"/>
              <a:ext cx="351287" cy="805031"/>
            </a:xfrm>
            <a:custGeom>
              <a:avLst/>
              <a:gdLst>
                <a:gd name="T0" fmla="*/ 21 w 69"/>
                <a:gd name="T1" fmla="*/ 0 h 159"/>
                <a:gd name="T2" fmla="*/ 2 w 69"/>
                <a:gd name="T3" fmla="*/ 38 h 159"/>
                <a:gd name="T4" fmla="*/ 9 w 69"/>
                <a:gd name="T5" fmla="*/ 136 h 159"/>
                <a:gd name="T6" fmla="*/ 34 w 69"/>
                <a:gd name="T7" fmla="*/ 159 h 159"/>
                <a:gd name="T8" fmla="*/ 69 w 69"/>
                <a:gd name="T9" fmla="*/ 159 h 159"/>
                <a:gd name="T10" fmla="*/ 53 w 69"/>
                <a:gd name="T11" fmla="*/ 30 h 159"/>
                <a:gd name="T12" fmla="*/ 21 w 69"/>
                <a:gd name="T1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59">
                  <a:moveTo>
                    <a:pt x="21" y="0"/>
                  </a:moveTo>
                  <a:cubicBezTo>
                    <a:pt x="21" y="0"/>
                    <a:pt x="0" y="2"/>
                    <a:pt x="2" y="38"/>
                  </a:cubicBezTo>
                  <a:cubicBezTo>
                    <a:pt x="3" y="63"/>
                    <a:pt x="7" y="108"/>
                    <a:pt x="9" y="136"/>
                  </a:cubicBezTo>
                  <a:cubicBezTo>
                    <a:pt x="10" y="149"/>
                    <a:pt x="21" y="159"/>
                    <a:pt x="34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53" y="30"/>
                    <a:pt x="53" y="30"/>
                    <a:pt x="53" y="3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7" name="任意多边形: 形状 1376">
              <a:extLst>
                <a:ext uri="{FF2B5EF4-FFF2-40B4-BE49-F238E27FC236}">
                  <a16:creationId xmlns:a16="http://schemas.microsoft.com/office/drawing/2014/main" id="{D22A401E-29E0-49F9-9A5E-55E15C8E69C4}"/>
                </a:ext>
              </a:extLst>
            </p:cNvPr>
            <p:cNvSpPr/>
            <p:nvPr userDrawn="1"/>
          </p:nvSpPr>
          <p:spPr bwMode="auto">
            <a:xfrm>
              <a:off x="2497743" y="4379287"/>
              <a:ext cx="400076" cy="114657"/>
            </a:xfrm>
            <a:custGeom>
              <a:avLst/>
              <a:gdLst>
                <a:gd name="T0" fmla="*/ 5 w 79"/>
                <a:gd name="T1" fmla="*/ 0 h 23"/>
                <a:gd name="T2" fmla="*/ 46 w 79"/>
                <a:gd name="T3" fmla="*/ 0 h 23"/>
                <a:gd name="T4" fmla="*/ 66 w 79"/>
                <a:gd name="T5" fmla="*/ 7 h 23"/>
                <a:gd name="T6" fmla="*/ 79 w 79"/>
                <a:gd name="T7" fmla="*/ 18 h 23"/>
                <a:gd name="T8" fmla="*/ 72 w 79"/>
                <a:gd name="T9" fmla="*/ 23 h 23"/>
                <a:gd name="T10" fmla="*/ 0 w 79"/>
                <a:gd name="T11" fmla="*/ 23 h 23"/>
                <a:gd name="T12" fmla="*/ 5 w 79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3">
                  <a:moveTo>
                    <a:pt x="5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53" y="0"/>
                    <a:pt x="60" y="3"/>
                    <a:pt x="66" y="7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8" name="任意多边形: 形状 1377">
              <a:extLst>
                <a:ext uri="{FF2B5EF4-FFF2-40B4-BE49-F238E27FC236}">
                  <a16:creationId xmlns:a16="http://schemas.microsoft.com/office/drawing/2014/main" id="{B630A60E-3DFB-4CD0-9AEF-D69124D183BC}"/>
                </a:ext>
              </a:extLst>
            </p:cNvPr>
            <p:cNvSpPr/>
            <p:nvPr userDrawn="1"/>
          </p:nvSpPr>
          <p:spPr bwMode="auto">
            <a:xfrm>
              <a:off x="2000087" y="4230478"/>
              <a:ext cx="548885" cy="263465"/>
            </a:xfrm>
            <a:custGeom>
              <a:avLst/>
              <a:gdLst>
                <a:gd name="T0" fmla="*/ 0 w 225"/>
                <a:gd name="T1" fmla="*/ 0 h 108"/>
                <a:gd name="T2" fmla="*/ 225 w 225"/>
                <a:gd name="T3" fmla="*/ 40 h 108"/>
                <a:gd name="T4" fmla="*/ 219 w 225"/>
                <a:gd name="T5" fmla="*/ 108 h 108"/>
                <a:gd name="T6" fmla="*/ 0 w 225"/>
                <a:gd name="T7" fmla="*/ 108 h 108"/>
                <a:gd name="T8" fmla="*/ 0 w 225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08">
                  <a:moveTo>
                    <a:pt x="0" y="0"/>
                  </a:moveTo>
                  <a:lnTo>
                    <a:pt x="225" y="40"/>
                  </a:lnTo>
                  <a:lnTo>
                    <a:pt x="219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79" name="任意多边形: 形状 1378">
              <a:extLst>
                <a:ext uri="{FF2B5EF4-FFF2-40B4-BE49-F238E27FC236}">
                  <a16:creationId xmlns:a16="http://schemas.microsoft.com/office/drawing/2014/main" id="{40A0EBFB-767C-4B32-ABBE-10D7FE54AA3C}"/>
                </a:ext>
              </a:extLst>
            </p:cNvPr>
            <p:cNvSpPr/>
            <p:nvPr userDrawn="1"/>
          </p:nvSpPr>
          <p:spPr bwMode="auto">
            <a:xfrm>
              <a:off x="2031801" y="3881632"/>
              <a:ext cx="517171" cy="502536"/>
            </a:xfrm>
            <a:custGeom>
              <a:avLst/>
              <a:gdLst>
                <a:gd name="T0" fmla="*/ 0 w 212"/>
                <a:gd name="T1" fmla="*/ 0 h 206"/>
                <a:gd name="T2" fmla="*/ 10 w 212"/>
                <a:gd name="T3" fmla="*/ 147 h 206"/>
                <a:gd name="T4" fmla="*/ 212 w 212"/>
                <a:gd name="T5" fmla="*/ 183 h 206"/>
                <a:gd name="T6" fmla="*/ 210 w 212"/>
                <a:gd name="T7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2" h="206">
                  <a:moveTo>
                    <a:pt x="0" y="0"/>
                  </a:moveTo>
                  <a:lnTo>
                    <a:pt x="10" y="147"/>
                  </a:lnTo>
                  <a:lnTo>
                    <a:pt x="212" y="183"/>
                  </a:lnTo>
                  <a:lnTo>
                    <a:pt x="210" y="206"/>
                  </a:lnTo>
                </a:path>
              </a:pathLst>
            </a:cu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0" name="直接连接符 1379">
              <a:extLst>
                <a:ext uri="{FF2B5EF4-FFF2-40B4-BE49-F238E27FC236}">
                  <a16:creationId xmlns:a16="http://schemas.microsoft.com/office/drawing/2014/main" id="{33549FBF-7BBC-4590-B80A-5ED3CB0D5B23}"/>
                </a:ext>
              </a:extLst>
            </p:cNvPr>
            <p:cNvSpPr/>
            <p:nvPr userDrawn="1"/>
          </p:nvSpPr>
          <p:spPr bwMode="auto">
            <a:xfrm flipH="1" flipV="1">
              <a:off x="1965934" y="4230478"/>
              <a:ext cx="109778" cy="14637"/>
            </a:xfrm>
            <a:prstGeom prst="line">
              <a:avLst/>
            </a:pr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1" name="任意多边形: 形状 1380">
              <a:extLst>
                <a:ext uri="{FF2B5EF4-FFF2-40B4-BE49-F238E27FC236}">
                  <a16:creationId xmlns:a16="http://schemas.microsoft.com/office/drawing/2014/main" id="{F6F84406-3AE6-467D-9489-4B783F58A638}"/>
                </a:ext>
              </a:extLst>
            </p:cNvPr>
            <p:cNvSpPr/>
            <p:nvPr userDrawn="1"/>
          </p:nvSpPr>
          <p:spPr bwMode="auto">
            <a:xfrm>
              <a:off x="2290387" y="3237607"/>
              <a:ext cx="156128" cy="151248"/>
            </a:xfrm>
            <a:custGeom>
              <a:avLst/>
              <a:gdLst>
                <a:gd name="T0" fmla="*/ 1 w 31"/>
                <a:gd name="T1" fmla="*/ 13 h 30"/>
                <a:gd name="T2" fmla="*/ 14 w 31"/>
                <a:gd name="T3" fmla="*/ 29 h 30"/>
                <a:gd name="T4" fmla="*/ 30 w 31"/>
                <a:gd name="T5" fmla="*/ 16 h 30"/>
                <a:gd name="T6" fmla="*/ 17 w 31"/>
                <a:gd name="T7" fmla="*/ 0 h 30"/>
                <a:gd name="T8" fmla="*/ 1 w 31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0">
                  <a:moveTo>
                    <a:pt x="1" y="13"/>
                  </a:moveTo>
                  <a:cubicBezTo>
                    <a:pt x="0" y="21"/>
                    <a:pt x="6" y="28"/>
                    <a:pt x="14" y="29"/>
                  </a:cubicBezTo>
                  <a:cubicBezTo>
                    <a:pt x="22" y="30"/>
                    <a:pt x="29" y="24"/>
                    <a:pt x="30" y="16"/>
                  </a:cubicBezTo>
                  <a:cubicBezTo>
                    <a:pt x="31" y="8"/>
                    <a:pt x="25" y="1"/>
                    <a:pt x="17" y="0"/>
                  </a:cubicBezTo>
                  <a:cubicBezTo>
                    <a:pt x="9" y="0"/>
                    <a:pt x="2" y="5"/>
                    <a:pt x="1" y="13"/>
                  </a:cubicBezTo>
                  <a:close/>
                </a:path>
              </a:pathLst>
            </a:custGeom>
            <a:solidFill>
              <a:srgbClr val="EFB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2" name="椭圆 1381">
              <a:extLst>
                <a:ext uri="{FF2B5EF4-FFF2-40B4-BE49-F238E27FC236}">
                  <a16:creationId xmlns:a16="http://schemas.microsoft.com/office/drawing/2014/main" id="{F057DAB7-6EF9-4714-BCEE-7A8CD0EA2572}"/>
                </a:ext>
              </a:extLst>
            </p:cNvPr>
            <p:cNvSpPr/>
            <p:nvPr userDrawn="1"/>
          </p:nvSpPr>
          <p:spPr bwMode="auto">
            <a:xfrm>
              <a:off x="2014724" y="2857047"/>
              <a:ext cx="229312" cy="231752"/>
            </a:xfrm>
            <a:prstGeom prst="ellipse">
              <a:avLst/>
            </a:pr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3" name="任意多边形: 形状 1382">
              <a:extLst>
                <a:ext uri="{FF2B5EF4-FFF2-40B4-BE49-F238E27FC236}">
                  <a16:creationId xmlns:a16="http://schemas.microsoft.com/office/drawing/2014/main" id="{081EAF86-5A8B-46B8-B71B-AF148738EAAA}"/>
                </a:ext>
              </a:extLst>
            </p:cNvPr>
            <p:cNvSpPr/>
            <p:nvPr userDrawn="1"/>
          </p:nvSpPr>
          <p:spPr bwMode="auto">
            <a:xfrm>
              <a:off x="1943979" y="2952187"/>
              <a:ext cx="463503" cy="441549"/>
            </a:xfrm>
            <a:custGeom>
              <a:avLst/>
              <a:gdLst>
                <a:gd name="T0" fmla="*/ 91 w 91"/>
                <a:gd name="T1" fmla="*/ 44 h 87"/>
                <a:gd name="T2" fmla="*/ 48 w 91"/>
                <a:gd name="T3" fmla="*/ 87 h 87"/>
                <a:gd name="T4" fmla="*/ 0 w 91"/>
                <a:gd name="T5" fmla="*/ 48 h 87"/>
                <a:gd name="T6" fmla="*/ 48 w 91"/>
                <a:gd name="T7" fmla="*/ 0 h 87"/>
                <a:gd name="T8" fmla="*/ 91 w 91"/>
                <a:gd name="T9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87">
                  <a:moveTo>
                    <a:pt x="91" y="44"/>
                  </a:moveTo>
                  <a:cubicBezTo>
                    <a:pt x="91" y="67"/>
                    <a:pt x="71" y="87"/>
                    <a:pt x="48" y="87"/>
                  </a:cubicBezTo>
                  <a:cubicBezTo>
                    <a:pt x="24" y="87"/>
                    <a:pt x="0" y="71"/>
                    <a:pt x="0" y="48"/>
                  </a:cubicBezTo>
                  <a:cubicBezTo>
                    <a:pt x="0" y="24"/>
                    <a:pt x="24" y="0"/>
                    <a:pt x="48" y="0"/>
                  </a:cubicBezTo>
                  <a:cubicBezTo>
                    <a:pt x="71" y="0"/>
                    <a:pt x="91" y="20"/>
                    <a:pt x="91" y="44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4" name="任意多边形: 形状 1383">
              <a:extLst>
                <a:ext uri="{FF2B5EF4-FFF2-40B4-BE49-F238E27FC236}">
                  <a16:creationId xmlns:a16="http://schemas.microsoft.com/office/drawing/2014/main" id="{9DC52F01-CBCA-4338-AAAB-A28AFF52B6F9}"/>
                </a:ext>
              </a:extLst>
            </p:cNvPr>
            <p:cNvSpPr/>
            <p:nvPr userDrawn="1"/>
          </p:nvSpPr>
          <p:spPr bwMode="auto">
            <a:xfrm>
              <a:off x="2056195" y="3408372"/>
              <a:ext cx="202478" cy="336650"/>
            </a:xfrm>
            <a:custGeom>
              <a:avLst/>
              <a:gdLst>
                <a:gd name="T0" fmla="*/ 40 w 40"/>
                <a:gd name="T1" fmla="*/ 19 h 66"/>
                <a:gd name="T2" fmla="*/ 37 w 40"/>
                <a:gd name="T3" fmla="*/ 50 h 66"/>
                <a:gd name="T4" fmla="*/ 17 w 40"/>
                <a:gd name="T5" fmla="*/ 64 h 66"/>
                <a:gd name="T6" fmla="*/ 17 w 40"/>
                <a:gd name="T7" fmla="*/ 64 h 66"/>
                <a:gd name="T8" fmla="*/ 0 w 40"/>
                <a:gd name="T9" fmla="*/ 49 h 66"/>
                <a:gd name="T10" fmla="*/ 8 w 40"/>
                <a:gd name="T11" fmla="*/ 0 h 66"/>
                <a:gd name="T12" fmla="*/ 40 w 40"/>
                <a:gd name="T13" fmla="*/ 1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66">
                  <a:moveTo>
                    <a:pt x="40" y="19"/>
                  </a:moveTo>
                  <a:cubicBezTo>
                    <a:pt x="37" y="50"/>
                    <a:pt x="37" y="50"/>
                    <a:pt x="37" y="50"/>
                  </a:cubicBezTo>
                  <a:cubicBezTo>
                    <a:pt x="35" y="61"/>
                    <a:pt x="28" y="66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8" y="63"/>
                    <a:pt x="0" y="58"/>
                    <a:pt x="0" y="49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0" y="19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5" name="任意多边形: 形状 1384">
              <a:extLst>
                <a:ext uri="{FF2B5EF4-FFF2-40B4-BE49-F238E27FC236}">
                  <a16:creationId xmlns:a16="http://schemas.microsoft.com/office/drawing/2014/main" id="{F6A03C79-7FF0-4173-81B1-8551126D76F7}"/>
                </a:ext>
              </a:extLst>
            </p:cNvPr>
            <p:cNvSpPr/>
            <p:nvPr userDrawn="1"/>
          </p:nvSpPr>
          <p:spPr bwMode="auto">
            <a:xfrm>
              <a:off x="2080591" y="3435205"/>
              <a:ext cx="178083" cy="146369"/>
            </a:xfrm>
            <a:custGeom>
              <a:avLst/>
              <a:gdLst>
                <a:gd name="T0" fmla="*/ 33 w 35"/>
                <a:gd name="T1" fmla="*/ 29 h 29"/>
                <a:gd name="T2" fmla="*/ 0 w 35"/>
                <a:gd name="T3" fmla="*/ 0 h 29"/>
                <a:gd name="T4" fmla="*/ 35 w 35"/>
                <a:gd name="T5" fmla="*/ 11 h 29"/>
                <a:gd name="T6" fmla="*/ 33 w 35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9">
                  <a:moveTo>
                    <a:pt x="33" y="29"/>
                  </a:moveTo>
                  <a:cubicBezTo>
                    <a:pt x="12" y="27"/>
                    <a:pt x="0" y="0"/>
                    <a:pt x="0" y="0"/>
                  </a:cubicBezTo>
                  <a:cubicBezTo>
                    <a:pt x="35" y="11"/>
                    <a:pt x="35" y="11"/>
                    <a:pt x="35" y="11"/>
                  </a:cubicBezTo>
                  <a:lnTo>
                    <a:pt x="33" y="29"/>
                  </a:lnTo>
                  <a:close/>
                </a:path>
              </a:pathLst>
            </a:custGeom>
            <a:solidFill>
              <a:srgbClr val="DD9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6" name="任意多边形: 形状 1385">
              <a:extLst>
                <a:ext uri="{FF2B5EF4-FFF2-40B4-BE49-F238E27FC236}">
                  <a16:creationId xmlns:a16="http://schemas.microsoft.com/office/drawing/2014/main" id="{D0DABCB1-6708-46A8-B8A2-B039D267352B}"/>
                </a:ext>
              </a:extLst>
            </p:cNvPr>
            <p:cNvSpPr/>
            <p:nvPr userDrawn="1"/>
          </p:nvSpPr>
          <p:spPr bwMode="auto">
            <a:xfrm>
              <a:off x="2019602" y="3003416"/>
              <a:ext cx="392759" cy="522051"/>
            </a:xfrm>
            <a:custGeom>
              <a:avLst/>
              <a:gdLst>
                <a:gd name="T0" fmla="*/ 37 w 77"/>
                <a:gd name="T1" fmla="*/ 102 h 103"/>
                <a:gd name="T2" fmla="*/ 37 w 77"/>
                <a:gd name="T3" fmla="*/ 102 h 103"/>
                <a:gd name="T4" fmla="*/ 73 w 77"/>
                <a:gd name="T5" fmla="*/ 75 h 103"/>
                <a:gd name="T6" fmla="*/ 75 w 77"/>
                <a:gd name="T7" fmla="*/ 39 h 103"/>
                <a:gd name="T8" fmla="*/ 45 w 77"/>
                <a:gd name="T9" fmla="*/ 2 h 103"/>
                <a:gd name="T10" fmla="*/ 45 w 77"/>
                <a:gd name="T11" fmla="*/ 2 h 103"/>
                <a:gd name="T12" fmla="*/ 3 w 77"/>
                <a:gd name="T13" fmla="*/ 32 h 103"/>
                <a:gd name="T14" fmla="*/ 1 w 77"/>
                <a:gd name="T15" fmla="*/ 60 h 103"/>
                <a:gd name="T16" fmla="*/ 37 w 77"/>
                <a:gd name="T17" fmla="*/ 10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03">
                  <a:moveTo>
                    <a:pt x="37" y="102"/>
                  </a:moveTo>
                  <a:cubicBezTo>
                    <a:pt x="37" y="102"/>
                    <a:pt x="37" y="102"/>
                    <a:pt x="37" y="102"/>
                  </a:cubicBezTo>
                  <a:cubicBezTo>
                    <a:pt x="55" y="103"/>
                    <a:pt x="71" y="89"/>
                    <a:pt x="73" y="75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7" y="21"/>
                    <a:pt x="64" y="4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26" y="0"/>
                    <a:pt x="5" y="13"/>
                    <a:pt x="3" y="3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82"/>
                    <a:pt x="14" y="100"/>
                    <a:pt x="37" y="102"/>
                  </a:cubicBez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7" name="任意多边形: 形状 1386">
              <a:extLst>
                <a:ext uri="{FF2B5EF4-FFF2-40B4-BE49-F238E27FC236}">
                  <a16:creationId xmlns:a16="http://schemas.microsoft.com/office/drawing/2014/main" id="{5E594464-607C-4555-8EC0-740956A1565B}"/>
                </a:ext>
              </a:extLst>
            </p:cNvPr>
            <p:cNvSpPr/>
            <p:nvPr userDrawn="1"/>
          </p:nvSpPr>
          <p:spPr bwMode="auto">
            <a:xfrm>
              <a:off x="2285508" y="3359581"/>
              <a:ext cx="29274" cy="34153"/>
            </a:xfrm>
            <a:custGeom>
              <a:avLst/>
              <a:gdLst>
                <a:gd name="T0" fmla="*/ 8 w 12"/>
                <a:gd name="T1" fmla="*/ 0 h 14"/>
                <a:gd name="T2" fmla="*/ 12 w 12"/>
                <a:gd name="T3" fmla="*/ 14 h 14"/>
                <a:gd name="T4" fmla="*/ 0 w 12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8" y="0"/>
                  </a:moveTo>
                  <a:lnTo>
                    <a:pt x="12" y="14"/>
                  </a:lnTo>
                  <a:lnTo>
                    <a:pt x="0" y="14"/>
                  </a:lnTo>
                </a:path>
              </a:pathLst>
            </a:custGeom>
            <a:noFill/>
            <a:ln w="6350" cap="rnd">
              <a:solidFill>
                <a:srgbClr val="201D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8" name="任意多边形: 形状 1387">
              <a:extLst>
                <a:ext uri="{FF2B5EF4-FFF2-40B4-BE49-F238E27FC236}">
                  <a16:creationId xmlns:a16="http://schemas.microsoft.com/office/drawing/2014/main" id="{813E4FE3-C7D7-4FF4-903E-A4494904CD58}"/>
                </a:ext>
              </a:extLst>
            </p:cNvPr>
            <p:cNvSpPr/>
            <p:nvPr userDrawn="1"/>
          </p:nvSpPr>
          <p:spPr bwMode="auto">
            <a:xfrm>
              <a:off x="2151335" y="3215651"/>
              <a:ext cx="97580" cy="51230"/>
            </a:xfrm>
            <a:custGeom>
              <a:avLst/>
              <a:gdLst>
                <a:gd name="T0" fmla="*/ 10 w 19"/>
                <a:gd name="T1" fmla="*/ 1 h 10"/>
                <a:gd name="T2" fmla="*/ 19 w 19"/>
                <a:gd name="T3" fmla="*/ 5 h 10"/>
                <a:gd name="T4" fmla="*/ 11 w 19"/>
                <a:gd name="T5" fmla="*/ 9 h 10"/>
                <a:gd name="T6" fmla="*/ 0 w 19"/>
                <a:gd name="T7" fmla="*/ 6 h 10"/>
                <a:gd name="T8" fmla="*/ 10 w 19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0" y="1"/>
                  </a:moveTo>
                  <a:cubicBezTo>
                    <a:pt x="10" y="1"/>
                    <a:pt x="19" y="0"/>
                    <a:pt x="19" y="5"/>
                  </a:cubicBezTo>
                  <a:cubicBezTo>
                    <a:pt x="19" y="5"/>
                    <a:pt x="19" y="8"/>
                    <a:pt x="11" y="9"/>
                  </a:cubicBezTo>
                  <a:cubicBezTo>
                    <a:pt x="3" y="10"/>
                    <a:pt x="1" y="9"/>
                    <a:pt x="0" y="6"/>
                  </a:cubicBezTo>
                  <a:cubicBezTo>
                    <a:pt x="0" y="3"/>
                    <a:pt x="6" y="1"/>
                    <a:pt x="10" y="1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89" name="任意多边形: 形状 1388">
              <a:extLst>
                <a:ext uri="{FF2B5EF4-FFF2-40B4-BE49-F238E27FC236}">
                  <a16:creationId xmlns:a16="http://schemas.microsoft.com/office/drawing/2014/main" id="{AAAA65EC-498C-4394-A5CE-5F9CCA2B0F51}"/>
                </a:ext>
              </a:extLst>
            </p:cNvPr>
            <p:cNvSpPr/>
            <p:nvPr userDrawn="1"/>
          </p:nvSpPr>
          <p:spPr bwMode="auto">
            <a:xfrm>
              <a:off x="2324539" y="3220530"/>
              <a:ext cx="70746" cy="51230"/>
            </a:xfrm>
            <a:custGeom>
              <a:avLst/>
              <a:gdLst>
                <a:gd name="T0" fmla="*/ 7 w 14"/>
                <a:gd name="T1" fmla="*/ 2 h 10"/>
                <a:gd name="T2" fmla="*/ 0 w 14"/>
                <a:gd name="T3" fmla="*/ 5 h 10"/>
                <a:gd name="T4" fmla="*/ 6 w 14"/>
                <a:gd name="T5" fmla="*/ 9 h 10"/>
                <a:gd name="T6" fmla="*/ 14 w 14"/>
                <a:gd name="T7" fmla="*/ 6 h 10"/>
                <a:gd name="T8" fmla="*/ 7 w 14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7" y="2"/>
                  </a:moveTo>
                  <a:cubicBezTo>
                    <a:pt x="7" y="2"/>
                    <a:pt x="1" y="0"/>
                    <a:pt x="0" y="5"/>
                  </a:cubicBezTo>
                  <a:cubicBezTo>
                    <a:pt x="0" y="5"/>
                    <a:pt x="0" y="8"/>
                    <a:pt x="6" y="9"/>
                  </a:cubicBezTo>
                  <a:cubicBezTo>
                    <a:pt x="11" y="10"/>
                    <a:pt x="13" y="9"/>
                    <a:pt x="14" y="6"/>
                  </a:cubicBezTo>
                  <a:cubicBezTo>
                    <a:pt x="14" y="4"/>
                    <a:pt x="10" y="2"/>
                    <a:pt x="7" y="2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0" name="椭圆 1389">
              <a:extLst>
                <a:ext uri="{FF2B5EF4-FFF2-40B4-BE49-F238E27FC236}">
                  <a16:creationId xmlns:a16="http://schemas.microsoft.com/office/drawing/2014/main" id="{A98E1742-FD9A-4D75-A6E0-105CF283D7E1}"/>
                </a:ext>
              </a:extLst>
            </p:cNvPr>
            <p:cNvSpPr/>
            <p:nvPr userDrawn="1"/>
          </p:nvSpPr>
          <p:spPr bwMode="auto">
            <a:xfrm>
              <a:off x="2197686" y="3291275"/>
              <a:ext cx="36593" cy="36593"/>
            </a:xfrm>
            <a:prstGeom prst="ellipse">
              <a:avLst/>
            </a:prstGeom>
            <a:solidFill>
              <a:srgbClr val="201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1" name="椭圆 1390">
              <a:extLst>
                <a:ext uri="{FF2B5EF4-FFF2-40B4-BE49-F238E27FC236}">
                  <a16:creationId xmlns:a16="http://schemas.microsoft.com/office/drawing/2014/main" id="{4B1CD3E7-CD00-46CF-BE39-A82FD7264BD2}"/>
                </a:ext>
              </a:extLst>
            </p:cNvPr>
            <p:cNvSpPr/>
            <p:nvPr userDrawn="1"/>
          </p:nvSpPr>
          <p:spPr bwMode="auto">
            <a:xfrm>
              <a:off x="2339176" y="3303473"/>
              <a:ext cx="26835" cy="29274"/>
            </a:xfrm>
            <a:prstGeom prst="ellipse">
              <a:avLst/>
            </a:prstGeom>
            <a:solidFill>
              <a:srgbClr val="201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2" name="任意多边形: 形状 1391">
              <a:extLst>
                <a:ext uri="{FF2B5EF4-FFF2-40B4-BE49-F238E27FC236}">
                  <a16:creationId xmlns:a16="http://schemas.microsoft.com/office/drawing/2014/main" id="{5C1FFA20-F9B7-42EA-AFD0-2B27FDBD5FEF}"/>
                </a:ext>
              </a:extLst>
            </p:cNvPr>
            <p:cNvSpPr/>
            <p:nvPr userDrawn="1"/>
          </p:nvSpPr>
          <p:spPr bwMode="auto">
            <a:xfrm>
              <a:off x="2212322" y="3418129"/>
              <a:ext cx="102459" cy="31714"/>
            </a:xfrm>
            <a:custGeom>
              <a:avLst/>
              <a:gdLst>
                <a:gd name="T0" fmla="*/ 0 w 20"/>
                <a:gd name="T1" fmla="*/ 0 h 6"/>
                <a:gd name="T2" fmla="*/ 19 w 20"/>
                <a:gd name="T3" fmla="*/ 0 h 6"/>
                <a:gd name="T4" fmla="*/ 1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20" y="6"/>
                    <a:pt x="10" y="6"/>
                  </a:cubicBezTo>
                  <a:cubicBezTo>
                    <a:pt x="0" y="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3" name="任意多边形: 形状 1392">
              <a:extLst>
                <a:ext uri="{FF2B5EF4-FFF2-40B4-BE49-F238E27FC236}">
                  <a16:creationId xmlns:a16="http://schemas.microsoft.com/office/drawing/2014/main" id="{01866F7B-8C18-483F-87E1-C68883C38A9E}"/>
                </a:ext>
              </a:extLst>
            </p:cNvPr>
            <p:cNvSpPr/>
            <p:nvPr userDrawn="1"/>
          </p:nvSpPr>
          <p:spPr bwMode="auto">
            <a:xfrm>
              <a:off x="1975691" y="2979022"/>
              <a:ext cx="253707" cy="287859"/>
            </a:xfrm>
            <a:custGeom>
              <a:avLst/>
              <a:gdLst>
                <a:gd name="T0" fmla="*/ 16 w 50"/>
                <a:gd name="T1" fmla="*/ 57 h 57"/>
                <a:gd name="T2" fmla="*/ 50 w 50"/>
                <a:gd name="T3" fmla="*/ 22 h 57"/>
                <a:gd name="T4" fmla="*/ 47 w 50"/>
                <a:gd name="T5" fmla="*/ 5 h 57"/>
                <a:gd name="T6" fmla="*/ 9 w 50"/>
                <a:gd name="T7" fmla="*/ 49 h 57"/>
                <a:gd name="T8" fmla="*/ 16 w 50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7">
                  <a:moveTo>
                    <a:pt x="16" y="57"/>
                  </a:moveTo>
                  <a:cubicBezTo>
                    <a:pt x="16" y="57"/>
                    <a:pt x="42" y="51"/>
                    <a:pt x="50" y="22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0" y="0"/>
                    <a:pt x="9" y="49"/>
                  </a:cubicBezTo>
                  <a:lnTo>
                    <a:pt x="16" y="57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4" name="任意多边形: 形状 1393">
              <a:extLst>
                <a:ext uri="{FF2B5EF4-FFF2-40B4-BE49-F238E27FC236}">
                  <a16:creationId xmlns:a16="http://schemas.microsoft.com/office/drawing/2014/main" id="{E359721C-6D71-441A-A6DB-44E4D796C61E}"/>
                </a:ext>
              </a:extLst>
            </p:cNvPr>
            <p:cNvSpPr/>
            <p:nvPr userDrawn="1"/>
          </p:nvSpPr>
          <p:spPr bwMode="auto">
            <a:xfrm>
              <a:off x="2158655" y="2979022"/>
              <a:ext cx="319574" cy="236631"/>
            </a:xfrm>
            <a:custGeom>
              <a:avLst/>
              <a:gdLst>
                <a:gd name="T0" fmla="*/ 0 w 63"/>
                <a:gd name="T1" fmla="*/ 24 h 47"/>
                <a:gd name="T2" fmla="*/ 60 w 63"/>
                <a:gd name="T3" fmla="*/ 47 h 47"/>
                <a:gd name="T4" fmla="*/ 11 w 63"/>
                <a:gd name="T5" fmla="*/ 5 h 47"/>
                <a:gd name="T6" fmla="*/ 0 w 63"/>
                <a:gd name="T7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47">
                  <a:moveTo>
                    <a:pt x="0" y="24"/>
                  </a:moveTo>
                  <a:cubicBezTo>
                    <a:pt x="0" y="24"/>
                    <a:pt x="15" y="43"/>
                    <a:pt x="60" y="47"/>
                  </a:cubicBezTo>
                  <a:cubicBezTo>
                    <a:pt x="60" y="47"/>
                    <a:pt x="63" y="0"/>
                    <a:pt x="11" y="5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5" name="任意多边形: 形状 1394">
              <a:extLst>
                <a:ext uri="{FF2B5EF4-FFF2-40B4-BE49-F238E27FC236}">
                  <a16:creationId xmlns:a16="http://schemas.microsoft.com/office/drawing/2014/main" id="{F7694ECA-CA9E-46D4-B86A-BFAFFAD50416}"/>
                </a:ext>
              </a:extLst>
            </p:cNvPr>
            <p:cNvSpPr/>
            <p:nvPr userDrawn="1"/>
          </p:nvSpPr>
          <p:spPr bwMode="auto">
            <a:xfrm>
              <a:off x="2031801" y="2947307"/>
              <a:ext cx="212236" cy="70746"/>
            </a:xfrm>
            <a:custGeom>
              <a:avLst/>
              <a:gdLst>
                <a:gd name="T0" fmla="*/ 0 w 42"/>
                <a:gd name="T1" fmla="*/ 14 h 14"/>
                <a:gd name="T2" fmla="*/ 21 w 42"/>
                <a:gd name="T3" fmla="*/ 3 h 14"/>
                <a:gd name="T4" fmla="*/ 42 w 4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4">
                  <a:moveTo>
                    <a:pt x="0" y="14"/>
                  </a:moveTo>
                  <a:cubicBezTo>
                    <a:pt x="0" y="14"/>
                    <a:pt x="10" y="5"/>
                    <a:pt x="21" y="3"/>
                  </a:cubicBezTo>
                  <a:cubicBezTo>
                    <a:pt x="34" y="0"/>
                    <a:pt x="42" y="3"/>
                    <a:pt x="42" y="3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6" name="任意多边形: 形状 1395">
              <a:extLst>
                <a:ext uri="{FF2B5EF4-FFF2-40B4-BE49-F238E27FC236}">
                  <a16:creationId xmlns:a16="http://schemas.microsoft.com/office/drawing/2014/main" id="{5A35D31D-A235-4FC0-BCFE-49AAB273D994}"/>
                </a:ext>
              </a:extLst>
            </p:cNvPr>
            <p:cNvSpPr/>
            <p:nvPr userDrawn="1"/>
          </p:nvSpPr>
          <p:spPr bwMode="auto">
            <a:xfrm>
              <a:off x="2031801" y="3191257"/>
              <a:ext cx="70746" cy="131733"/>
            </a:xfrm>
            <a:custGeom>
              <a:avLst/>
              <a:gdLst>
                <a:gd name="T0" fmla="*/ 29 w 29"/>
                <a:gd name="T1" fmla="*/ 19 h 54"/>
                <a:gd name="T2" fmla="*/ 6 w 29"/>
                <a:gd name="T3" fmla="*/ 54 h 54"/>
                <a:gd name="T4" fmla="*/ 0 w 29"/>
                <a:gd name="T5" fmla="*/ 0 h 54"/>
                <a:gd name="T6" fmla="*/ 29 w 29"/>
                <a:gd name="T7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19"/>
                  </a:moveTo>
                  <a:lnTo>
                    <a:pt x="6" y="54"/>
                  </a:lnTo>
                  <a:lnTo>
                    <a:pt x="0" y="0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7" name="任意多边形: 形状 1396">
              <a:extLst>
                <a:ext uri="{FF2B5EF4-FFF2-40B4-BE49-F238E27FC236}">
                  <a16:creationId xmlns:a16="http://schemas.microsoft.com/office/drawing/2014/main" id="{67A95266-77C1-42EC-AAD7-1949F48FC8FE}"/>
                </a:ext>
              </a:extLst>
            </p:cNvPr>
            <p:cNvSpPr/>
            <p:nvPr userDrawn="1"/>
          </p:nvSpPr>
          <p:spPr bwMode="auto">
            <a:xfrm>
              <a:off x="1924462" y="3215651"/>
              <a:ext cx="151248" cy="153689"/>
            </a:xfrm>
            <a:custGeom>
              <a:avLst/>
              <a:gdLst>
                <a:gd name="T0" fmla="*/ 1 w 30"/>
                <a:gd name="T1" fmla="*/ 14 h 30"/>
                <a:gd name="T2" fmla="*/ 13 w 30"/>
                <a:gd name="T3" fmla="*/ 29 h 30"/>
                <a:gd name="T4" fmla="*/ 29 w 30"/>
                <a:gd name="T5" fmla="*/ 17 h 30"/>
                <a:gd name="T6" fmla="*/ 17 w 30"/>
                <a:gd name="T7" fmla="*/ 1 h 30"/>
                <a:gd name="T8" fmla="*/ 1 w 30"/>
                <a:gd name="T9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1" y="14"/>
                  </a:moveTo>
                  <a:cubicBezTo>
                    <a:pt x="0" y="21"/>
                    <a:pt x="5" y="29"/>
                    <a:pt x="13" y="29"/>
                  </a:cubicBezTo>
                  <a:cubicBezTo>
                    <a:pt x="21" y="30"/>
                    <a:pt x="28" y="25"/>
                    <a:pt x="29" y="17"/>
                  </a:cubicBezTo>
                  <a:cubicBezTo>
                    <a:pt x="30" y="9"/>
                    <a:pt x="24" y="2"/>
                    <a:pt x="17" y="1"/>
                  </a:cubicBezTo>
                  <a:cubicBezTo>
                    <a:pt x="9" y="0"/>
                    <a:pt x="2" y="6"/>
                    <a:pt x="1" y="14"/>
                  </a:cubicBez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8" name="任意多边形: 形状 1397">
              <a:extLst>
                <a:ext uri="{FF2B5EF4-FFF2-40B4-BE49-F238E27FC236}">
                  <a16:creationId xmlns:a16="http://schemas.microsoft.com/office/drawing/2014/main" id="{F9FD3E39-62F9-4D03-9A28-BE1AF2BF432C}"/>
                </a:ext>
              </a:extLst>
            </p:cNvPr>
            <p:cNvSpPr/>
            <p:nvPr userDrawn="1"/>
          </p:nvSpPr>
          <p:spPr bwMode="auto">
            <a:xfrm>
              <a:off x="1980571" y="3266881"/>
              <a:ext cx="51230" cy="51230"/>
            </a:xfrm>
            <a:custGeom>
              <a:avLst/>
              <a:gdLst>
                <a:gd name="T0" fmla="*/ 8 w 10"/>
                <a:gd name="T1" fmla="*/ 10 h 10"/>
                <a:gd name="T2" fmla="*/ 0 w 10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0">
                  <a:moveTo>
                    <a:pt x="8" y="10"/>
                  </a:moveTo>
                  <a:cubicBezTo>
                    <a:pt x="8" y="10"/>
                    <a:pt x="10" y="0"/>
                    <a:pt x="0" y="0"/>
                  </a:cubicBezTo>
                </a:path>
              </a:pathLst>
            </a:custGeom>
            <a:noFill/>
            <a:ln w="6350" cap="rnd">
              <a:solidFill>
                <a:srgbClr val="201D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99" name="任意多边形: 形状 1398">
              <a:extLst>
                <a:ext uri="{FF2B5EF4-FFF2-40B4-BE49-F238E27FC236}">
                  <a16:creationId xmlns:a16="http://schemas.microsoft.com/office/drawing/2014/main" id="{38C860F5-72D5-4871-9150-E5BADBE20F8C}"/>
                </a:ext>
              </a:extLst>
            </p:cNvPr>
            <p:cNvSpPr/>
            <p:nvPr userDrawn="1"/>
          </p:nvSpPr>
          <p:spPr bwMode="auto">
            <a:xfrm>
              <a:off x="1943979" y="3605969"/>
              <a:ext cx="422032" cy="178083"/>
            </a:xfrm>
            <a:custGeom>
              <a:avLst/>
              <a:gdLst>
                <a:gd name="T0" fmla="*/ 0 w 83"/>
                <a:gd name="T1" fmla="*/ 10 h 35"/>
                <a:gd name="T2" fmla="*/ 41 w 83"/>
                <a:gd name="T3" fmla="*/ 32 h 35"/>
                <a:gd name="T4" fmla="*/ 76 w 83"/>
                <a:gd name="T5" fmla="*/ 21 h 35"/>
                <a:gd name="T6" fmla="*/ 83 w 83"/>
                <a:gd name="T7" fmla="*/ 11 h 35"/>
                <a:gd name="T8" fmla="*/ 51 w 83"/>
                <a:gd name="T9" fmla="*/ 0 h 35"/>
                <a:gd name="T10" fmla="*/ 24 w 83"/>
                <a:gd name="T11" fmla="*/ 2 h 35"/>
                <a:gd name="T12" fmla="*/ 0 w 83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35">
                  <a:moveTo>
                    <a:pt x="0" y="10"/>
                  </a:moveTo>
                  <a:cubicBezTo>
                    <a:pt x="0" y="10"/>
                    <a:pt x="13" y="26"/>
                    <a:pt x="41" y="32"/>
                  </a:cubicBezTo>
                  <a:cubicBezTo>
                    <a:pt x="54" y="35"/>
                    <a:pt x="67" y="31"/>
                    <a:pt x="76" y="21"/>
                  </a:cubicBezTo>
                  <a:cubicBezTo>
                    <a:pt x="79" y="18"/>
                    <a:pt x="83" y="14"/>
                    <a:pt x="83" y="11"/>
                  </a:cubicBezTo>
                  <a:cubicBezTo>
                    <a:pt x="83" y="11"/>
                    <a:pt x="58" y="0"/>
                    <a:pt x="51" y="0"/>
                  </a:cubicBezTo>
                  <a:cubicBezTo>
                    <a:pt x="24" y="2"/>
                    <a:pt x="24" y="2"/>
                    <a:pt x="24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0" name="任意多边形: 形状 1399">
              <a:extLst>
                <a:ext uri="{FF2B5EF4-FFF2-40B4-BE49-F238E27FC236}">
                  <a16:creationId xmlns:a16="http://schemas.microsoft.com/office/drawing/2014/main" id="{85C9CA0A-96B0-46FB-AEA8-73851E514754}"/>
                </a:ext>
              </a:extLst>
            </p:cNvPr>
            <p:cNvSpPr/>
            <p:nvPr userDrawn="1"/>
          </p:nvSpPr>
          <p:spPr bwMode="auto">
            <a:xfrm>
              <a:off x="3554042" y="4554931"/>
              <a:ext cx="1009949" cy="1563714"/>
            </a:xfrm>
            <a:custGeom>
              <a:avLst/>
              <a:gdLst>
                <a:gd name="T0" fmla="*/ 0 w 414"/>
                <a:gd name="T1" fmla="*/ 641 h 641"/>
                <a:gd name="T2" fmla="*/ 206 w 414"/>
                <a:gd name="T3" fmla="*/ 0 h 641"/>
                <a:gd name="T4" fmla="*/ 414 w 414"/>
                <a:gd name="T5" fmla="*/ 633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641">
                  <a:moveTo>
                    <a:pt x="0" y="641"/>
                  </a:moveTo>
                  <a:lnTo>
                    <a:pt x="206" y="0"/>
                  </a:lnTo>
                  <a:lnTo>
                    <a:pt x="414" y="633"/>
                  </a:lnTo>
                </a:path>
              </a:pathLst>
            </a:cu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1" name="任意多边形: 形状 1400">
              <a:extLst>
                <a:ext uri="{FF2B5EF4-FFF2-40B4-BE49-F238E27FC236}">
                  <a16:creationId xmlns:a16="http://schemas.microsoft.com/office/drawing/2014/main" id="{5C510DBA-8937-433B-A8DB-37E48B433EFA}"/>
                </a:ext>
              </a:extLst>
            </p:cNvPr>
            <p:cNvSpPr/>
            <p:nvPr userDrawn="1"/>
          </p:nvSpPr>
          <p:spPr bwMode="auto">
            <a:xfrm>
              <a:off x="1263361" y="4554931"/>
              <a:ext cx="1009949" cy="1563714"/>
            </a:xfrm>
            <a:custGeom>
              <a:avLst/>
              <a:gdLst>
                <a:gd name="T0" fmla="*/ 0 w 414"/>
                <a:gd name="T1" fmla="*/ 641 h 641"/>
                <a:gd name="T2" fmla="*/ 204 w 414"/>
                <a:gd name="T3" fmla="*/ 0 h 641"/>
                <a:gd name="T4" fmla="*/ 414 w 414"/>
                <a:gd name="T5" fmla="*/ 633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641">
                  <a:moveTo>
                    <a:pt x="0" y="641"/>
                  </a:moveTo>
                  <a:lnTo>
                    <a:pt x="204" y="0"/>
                  </a:lnTo>
                  <a:lnTo>
                    <a:pt x="414" y="633"/>
                  </a:lnTo>
                </a:path>
              </a:pathLst>
            </a:cu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2" name="矩形 1401">
              <a:extLst>
                <a:ext uri="{FF2B5EF4-FFF2-40B4-BE49-F238E27FC236}">
                  <a16:creationId xmlns:a16="http://schemas.microsoft.com/office/drawing/2014/main" id="{1A21B825-2ED7-40D1-9862-5BA06C97E599}"/>
                </a:ext>
              </a:extLst>
            </p:cNvPr>
            <p:cNvSpPr/>
            <p:nvPr userDrawn="1"/>
          </p:nvSpPr>
          <p:spPr bwMode="auto">
            <a:xfrm>
              <a:off x="1097476" y="4493943"/>
              <a:ext cx="1414905" cy="126853"/>
            </a:xfrm>
            <a:prstGeom prst="rect">
              <a:avLst/>
            </a:prstGeom>
            <a:solidFill>
              <a:srgbClr val="111D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3" name="矩形 1402">
              <a:extLst>
                <a:ext uri="{FF2B5EF4-FFF2-40B4-BE49-F238E27FC236}">
                  <a16:creationId xmlns:a16="http://schemas.microsoft.com/office/drawing/2014/main" id="{295C9AAD-7045-47A3-A250-456B0D549141}"/>
                </a:ext>
              </a:extLst>
            </p:cNvPr>
            <p:cNvSpPr/>
            <p:nvPr userDrawn="1"/>
          </p:nvSpPr>
          <p:spPr bwMode="auto">
            <a:xfrm>
              <a:off x="2483106" y="4493943"/>
              <a:ext cx="2405336" cy="126853"/>
            </a:xfrm>
            <a:prstGeom prst="rect">
              <a:avLst/>
            </a:prstGeom>
            <a:solidFill>
              <a:srgbClr val="243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4" name="任意多边形: 形状 1403">
              <a:extLst>
                <a:ext uri="{FF2B5EF4-FFF2-40B4-BE49-F238E27FC236}">
                  <a16:creationId xmlns:a16="http://schemas.microsoft.com/office/drawing/2014/main" id="{153C748B-580E-49E6-8140-57C2C32152D2}"/>
                </a:ext>
              </a:extLst>
            </p:cNvPr>
            <p:cNvSpPr/>
            <p:nvPr userDrawn="1"/>
          </p:nvSpPr>
          <p:spPr bwMode="auto">
            <a:xfrm>
              <a:off x="2924654" y="4445154"/>
              <a:ext cx="668420" cy="48789"/>
            </a:xfrm>
            <a:custGeom>
              <a:avLst/>
              <a:gdLst>
                <a:gd name="T0" fmla="*/ 5 w 132"/>
                <a:gd name="T1" fmla="*/ 0 h 10"/>
                <a:gd name="T2" fmla="*/ 127 w 132"/>
                <a:gd name="T3" fmla="*/ 0 h 10"/>
                <a:gd name="T4" fmla="*/ 132 w 132"/>
                <a:gd name="T5" fmla="*/ 5 h 10"/>
                <a:gd name="T6" fmla="*/ 132 w 132"/>
                <a:gd name="T7" fmla="*/ 5 h 10"/>
                <a:gd name="T8" fmla="*/ 127 w 132"/>
                <a:gd name="T9" fmla="*/ 10 h 10"/>
                <a:gd name="T10" fmla="*/ 5 w 132"/>
                <a:gd name="T11" fmla="*/ 10 h 10"/>
                <a:gd name="T12" fmla="*/ 0 w 132"/>
                <a:gd name="T13" fmla="*/ 5 h 10"/>
                <a:gd name="T14" fmla="*/ 0 w 132"/>
                <a:gd name="T15" fmla="*/ 5 h 10"/>
                <a:gd name="T16" fmla="*/ 5 w 132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0">
                  <a:moveTo>
                    <a:pt x="5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2" y="2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8"/>
                    <a:pt x="130" y="10"/>
                    <a:pt x="127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5" name="任意多边形: 形状 1404">
              <a:extLst>
                <a:ext uri="{FF2B5EF4-FFF2-40B4-BE49-F238E27FC236}">
                  <a16:creationId xmlns:a16="http://schemas.microsoft.com/office/drawing/2014/main" id="{E704B28D-8AE0-4902-8D30-955C792B7F02}"/>
                </a:ext>
              </a:extLst>
            </p:cNvPr>
            <p:cNvSpPr/>
            <p:nvPr userDrawn="1"/>
          </p:nvSpPr>
          <p:spPr bwMode="auto">
            <a:xfrm>
              <a:off x="2605080" y="4445154"/>
              <a:ext cx="497656" cy="48789"/>
            </a:xfrm>
            <a:custGeom>
              <a:avLst/>
              <a:gdLst>
                <a:gd name="T0" fmla="*/ 5 w 98"/>
                <a:gd name="T1" fmla="*/ 0 h 10"/>
                <a:gd name="T2" fmla="*/ 93 w 98"/>
                <a:gd name="T3" fmla="*/ 0 h 10"/>
                <a:gd name="T4" fmla="*/ 98 w 98"/>
                <a:gd name="T5" fmla="*/ 5 h 10"/>
                <a:gd name="T6" fmla="*/ 98 w 98"/>
                <a:gd name="T7" fmla="*/ 5 h 10"/>
                <a:gd name="T8" fmla="*/ 93 w 98"/>
                <a:gd name="T9" fmla="*/ 10 h 10"/>
                <a:gd name="T10" fmla="*/ 5 w 98"/>
                <a:gd name="T11" fmla="*/ 10 h 10"/>
                <a:gd name="T12" fmla="*/ 0 w 98"/>
                <a:gd name="T13" fmla="*/ 5 h 10"/>
                <a:gd name="T14" fmla="*/ 0 w 98"/>
                <a:gd name="T15" fmla="*/ 5 h 10"/>
                <a:gd name="T16" fmla="*/ 5 w 98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0">
                  <a:moveTo>
                    <a:pt x="5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8" y="2"/>
                    <a:pt x="98" y="5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8" y="8"/>
                    <a:pt x="96" y="10"/>
                    <a:pt x="93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6" name="任意多边形: 形状 1405">
              <a:extLst>
                <a:ext uri="{FF2B5EF4-FFF2-40B4-BE49-F238E27FC236}">
                  <a16:creationId xmlns:a16="http://schemas.microsoft.com/office/drawing/2014/main" id="{2F4E576F-7F4E-4F53-B44D-8CF239500C3D}"/>
                </a:ext>
              </a:extLst>
            </p:cNvPr>
            <p:cNvSpPr/>
            <p:nvPr userDrawn="1"/>
          </p:nvSpPr>
          <p:spPr bwMode="auto">
            <a:xfrm>
              <a:off x="2973444" y="3303473"/>
              <a:ext cx="1422224" cy="953841"/>
            </a:xfrm>
            <a:custGeom>
              <a:avLst/>
              <a:gdLst>
                <a:gd name="T0" fmla="*/ 11 w 280"/>
                <a:gd name="T1" fmla="*/ 188 h 188"/>
                <a:gd name="T2" fmla="*/ 269 w 280"/>
                <a:gd name="T3" fmla="*/ 188 h 188"/>
                <a:gd name="T4" fmla="*/ 280 w 280"/>
                <a:gd name="T5" fmla="*/ 177 h 188"/>
                <a:gd name="T6" fmla="*/ 280 w 280"/>
                <a:gd name="T7" fmla="*/ 12 h 188"/>
                <a:gd name="T8" fmla="*/ 269 w 280"/>
                <a:gd name="T9" fmla="*/ 0 h 188"/>
                <a:gd name="T10" fmla="*/ 11 w 280"/>
                <a:gd name="T11" fmla="*/ 0 h 188"/>
                <a:gd name="T12" fmla="*/ 0 w 280"/>
                <a:gd name="T13" fmla="*/ 12 h 188"/>
                <a:gd name="T14" fmla="*/ 0 w 280"/>
                <a:gd name="T15" fmla="*/ 177 h 188"/>
                <a:gd name="T16" fmla="*/ 11 w 280"/>
                <a:gd name="T1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188">
                  <a:moveTo>
                    <a:pt x="11" y="188"/>
                  </a:moveTo>
                  <a:cubicBezTo>
                    <a:pt x="269" y="188"/>
                    <a:pt x="269" y="188"/>
                    <a:pt x="269" y="188"/>
                  </a:cubicBezTo>
                  <a:cubicBezTo>
                    <a:pt x="275" y="188"/>
                    <a:pt x="280" y="183"/>
                    <a:pt x="280" y="177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6"/>
                    <a:pt x="275" y="0"/>
                    <a:pt x="26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3"/>
                    <a:pt x="5" y="188"/>
                    <a:pt x="11" y="188"/>
                  </a:cubicBezTo>
                  <a:close/>
                </a:path>
              </a:pathLst>
            </a:custGeom>
            <a:solidFill>
              <a:srgbClr val="273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7" name="任意多边形: 形状 1406">
              <a:extLst>
                <a:ext uri="{FF2B5EF4-FFF2-40B4-BE49-F238E27FC236}">
                  <a16:creationId xmlns:a16="http://schemas.microsoft.com/office/drawing/2014/main" id="{F84B6415-DFAE-4BB1-87EB-0775F7F48E4E}"/>
                </a:ext>
              </a:extLst>
            </p:cNvPr>
            <p:cNvSpPr/>
            <p:nvPr userDrawn="1"/>
          </p:nvSpPr>
          <p:spPr bwMode="auto">
            <a:xfrm>
              <a:off x="3005156" y="3303474"/>
              <a:ext cx="1419783" cy="953841"/>
            </a:xfrm>
            <a:custGeom>
              <a:avLst/>
              <a:gdLst>
                <a:gd name="T0" fmla="*/ 11 w 280"/>
                <a:gd name="T1" fmla="*/ 188 h 188"/>
                <a:gd name="T2" fmla="*/ 269 w 280"/>
                <a:gd name="T3" fmla="*/ 188 h 188"/>
                <a:gd name="T4" fmla="*/ 280 w 280"/>
                <a:gd name="T5" fmla="*/ 177 h 188"/>
                <a:gd name="T6" fmla="*/ 280 w 280"/>
                <a:gd name="T7" fmla="*/ 12 h 188"/>
                <a:gd name="T8" fmla="*/ 269 w 280"/>
                <a:gd name="T9" fmla="*/ 0 h 188"/>
                <a:gd name="T10" fmla="*/ 11 w 280"/>
                <a:gd name="T11" fmla="*/ 0 h 188"/>
                <a:gd name="T12" fmla="*/ 0 w 280"/>
                <a:gd name="T13" fmla="*/ 12 h 188"/>
                <a:gd name="T14" fmla="*/ 0 w 280"/>
                <a:gd name="T15" fmla="*/ 177 h 188"/>
                <a:gd name="T16" fmla="*/ 11 w 280"/>
                <a:gd name="T1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188">
                  <a:moveTo>
                    <a:pt x="11" y="188"/>
                  </a:moveTo>
                  <a:cubicBezTo>
                    <a:pt x="269" y="188"/>
                    <a:pt x="269" y="188"/>
                    <a:pt x="269" y="188"/>
                  </a:cubicBezTo>
                  <a:cubicBezTo>
                    <a:pt x="275" y="188"/>
                    <a:pt x="280" y="183"/>
                    <a:pt x="280" y="177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6"/>
                    <a:pt x="275" y="0"/>
                    <a:pt x="26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3"/>
                    <a:pt x="5" y="188"/>
                    <a:pt x="11" y="188"/>
                  </a:cubicBezTo>
                  <a:close/>
                </a:path>
              </a:pathLst>
            </a:custGeom>
            <a:solidFill>
              <a:srgbClr val="273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8" name="任意多边形: 形状 1407">
              <a:extLst>
                <a:ext uri="{FF2B5EF4-FFF2-40B4-BE49-F238E27FC236}">
                  <a16:creationId xmlns:a16="http://schemas.microsoft.com/office/drawing/2014/main" id="{802A38DB-2533-4C67-A386-71B3EB5F594B}"/>
                </a:ext>
              </a:extLst>
            </p:cNvPr>
            <p:cNvSpPr/>
            <p:nvPr userDrawn="1"/>
          </p:nvSpPr>
          <p:spPr bwMode="auto">
            <a:xfrm>
              <a:off x="3283257" y="3749901"/>
              <a:ext cx="492777" cy="507413"/>
            </a:xfrm>
            <a:custGeom>
              <a:avLst/>
              <a:gdLst>
                <a:gd name="T0" fmla="*/ 140 w 202"/>
                <a:gd name="T1" fmla="*/ 0 h 208"/>
                <a:gd name="T2" fmla="*/ 0 w 202"/>
                <a:gd name="T3" fmla="*/ 208 h 208"/>
                <a:gd name="T4" fmla="*/ 202 w 202"/>
                <a:gd name="T5" fmla="*/ 208 h 208"/>
                <a:gd name="T6" fmla="*/ 140 w 202"/>
                <a:gd name="T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" h="208">
                  <a:moveTo>
                    <a:pt x="140" y="0"/>
                  </a:moveTo>
                  <a:lnTo>
                    <a:pt x="0" y="208"/>
                  </a:lnTo>
                  <a:lnTo>
                    <a:pt x="202" y="208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09" name="任意多边形: 形状 1408">
              <a:extLst>
                <a:ext uri="{FF2B5EF4-FFF2-40B4-BE49-F238E27FC236}">
                  <a16:creationId xmlns:a16="http://schemas.microsoft.com/office/drawing/2014/main" id="{98E1AD8E-4AAE-4D43-BB79-9386AA7F583E}"/>
                </a:ext>
              </a:extLst>
            </p:cNvPr>
            <p:cNvSpPr/>
            <p:nvPr userDrawn="1"/>
          </p:nvSpPr>
          <p:spPr bwMode="auto">
            <a:xfrm>
              <a:off x="3615028" y="3732823"/>
              <a:ext cx="441549" cy="761121"/>
            </a:xfrm>
            <a:custGeom>
              <a:avLst/>
              <a:gdLst>
                <a:gd name="T0" fmla="*/ 50 w 87"/>
                <a:gd name="T1" fmla="*/ 0 h 150"/>
                <a:gd name="T2" fmla="*/ 7 w 87"/>
                <a:gd name="T3" fmla="*/ 0 h 150"/>
                <a:gd name="T4" fmla="*/ 1 w 87"/>
                <a:gd name="T5" fmla="*/ 7 h 150"/>
                <a:gd name="T6" fmla="*/ 29 w 87"/>
                <a:gd name="T7" fmla="*/ 145 h 150"/>
                <a:gd name="T8" fmla="*/ 35 w 87"/>
                <a:gd name="T9" fmla="*/ 150 h 150"/>
                <a:gd name="T10" fmla="*/ 80 w 87"/>
                <a:gd name="T11" fmla="*/ 150 h 150"/>
                <a:gd name="T12" fmla="*/ 86 w 87"/>
                <a:gd name="T13" fmla="*/ 143 h 150"/>
                <a:gd name="T14" fmla="*/ 56 w 87"/>
                <a:gd name="T15" fmla="*/ 5 h 150"/>
                <a:gd name="T16" fmla="*/ 50 w 87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150">
                  <a:moveTo>
                    <a:pt x="5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1" y="7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30" y="148"/>
                    <a:pt x="32" y="150"/>
                    <a:pt x="35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4" y="150"/>
                    <a:pt x="87" y="146"/>
                    <a:pt x="86" y="143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2"/>
                    <a:pt x="53" y="0"/>
                    <a:pt x="50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10" name="任意多边形: 形状 1409">
              <a:extLst>
                <a:ext uri="{FF2B5EF4-FFF2-40B4-BE49-F238E27FC236}">
                  <a16:creationId xmlns:a16="http://schemas.microsoft.com/office/drawing/2014/main" id="{47B9F1F7-4C6D-4E6C-B213-84F3C601F533}"/>
                </a:ext>
              </a:extLst>
            </p:cNvPr>
            <p:cNvSpPr/>
            <p:nvPr userDrawn="1"/>
          </p:nvSpPr>
          <p:spPr bwMode="auto">
            <a:xfrm>
              <a:off x="3522328" y="4445153"/>
              <a:ext cx="431790" cy="48789"/>
            </a:xfrm>
            <a:custGeom>
              <a:avLst/>
              <a:gdLst>
                <a:gd name="T0" fmla="*/ 5 w 85"/>
                <a:gd name="T1" fmla="*/ 0 h 10"/>
                <a:gd name="T2" fmla="*/ 85 w 85"/>
                <a:gd name="T3" fmla="*/ 0 h 10"/>
                <a:gd name="T4" fmla="*/ 85 w 85"/>
                <a:gd name="T5" fmla="*/ 10 h 10"/>
                <a:gd name="T6" fmla="*/ 5 w 85"/>
                <a:gd name="T7" fmla="*/ 10 h 10"/>
                <a:gd name="T8" fmla="*/ 0 w 85"/>
                <a:gd name="T9" fmla="*/ 5 h 10"/>
                <a:gd name="T10" fmla="*/ 0 w 85"/>
                <a:gd name="T11" fmla="*/ 5 h 10"/>
                <a:gd name="T12" fmla="*/ 5 w 8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0">
                  <a:moveTo>
                    <a:pt x="5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grpSp>
          <p:nvGrpSpPr>
            <p:cNvPr id="331" name="组合 330">
              <a:extLst>
                <a:ext uri="{FF2B5EF4-FFF2-40B4-BE49-F238E27FC236}">
                  <a16:creationId xmlns:a16="http://schemas.microsoft.com/office/drawing/2014/main" id="{2FC61D5F-C731-486C-84D9-D710915FE833}"/>
                </a:ext>
              </a:extLst>
            </p:cNvPr>
            <p:cNvGrpSpPr/>
            <p:nvPr userDrawn="1"/>
          </p:nvGrpSpPr>
          <p:grpSpPr>
            <a:xfrm>
              <a:off x="663550" y="4783617"/>
              <a:ext cx="730324" cy="1353658"/>
              <a:chOff x="1696676" y="5775514"/>
              <a:chExt cx="1246187" cy="2309812"/>
            </a:xfrm>
          </p:grpSpPr>
          <p:sp>
            <p:nvSpPr>
              <p:cNvPr id="1505" name="任意多边形: 形状 1504">
                <a:extLst>
                  <a:ext uri="{FF2B5EF4-FFF2-40B4-BE49-F238E27FC236}">
                    <a16:creationId xmlns:a16="http://schemas.microsoft.com/office/drawing/2014/main" id="{3214357C-E9FA-4D5B-8806-DB78A262F429}"/>
                  </a:ext>
                </a:extLst>
              </p:cNvPr>
              <p:cNvSpPr/>
              <p:nvPr userDrawn="1"/>
            </p:nvSpPr>
            <p:spPr bwMode="auto">
              <a:xfrm>
                <a:off x="2323738" y="6013639"/>
                <a:ext cx="619125" cy="1087438"/>
              </a:xfrm>
              <a:custGeom>
                <a:avLst/>
                <a:gdLst>
                  <a:gd name="T0" fmla="*/ 14 w 96"/>
                  <a:gd name="T1" fmla="*/ 169 h 169"/>
                  <a:gd name="T2" fmla="*/ 3 w 96"/>
                  <a:gd name="T3" fmla="*/ 120 h 169"/>
                  <a:gd name="T4" fmla="*/ 19 w 96"/>
                  <a:gd name="T5" fmla="*/ 82 h 169"/>
                  <a:gd name="T6" fmla="*/ 32 w 96"/>
                  <a:gd name="T7" fmla="*/ 43 h 169"/>
                  <a:gd name="T8" fmla="*/ 55 w 96"/>
                  <a:gd name="T9" fmla="*/ 14 h 169"/>
                  <a:gd name="T10" fmla="*/ 89 w 96"/>
                  <a:gd name="T11" fmla="*/ 33 h 169"/>
                  <a:gd name="T12" fmla="*/ 55 w 96"/>
                  <a:gd name="T13" fmla="*/ 76 h 169"/>
                  <a:gd name="T14" fmla="*/ 52 w 96"/>
                  <a:gd name="T15" fmla="*/ 126 h 169"/>
                  <a:gd name="T16" fmla="*/ 14 w 96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169">
                    <a:moveTo>
                      <a:pt x="14" y="169"/>
                    </a:moveTo>
                    <a:cubicBezTo>
                      <a:pt x="14" y="169"/>
                      <a:pt x="0" y="140"/>
                      <a:pt x="3" y="120"/>
                    </a:cubicBezTo>
                    <a:cubicBezTo>
                      <a:pt x="6" y="101"/>
                      <a:pt x="23" y="105"/>
                      <a:pt x="19" y="82"/>
                    </a:cubicBezTo>
                    <a:cubicBezTo>
                      <a:pt x="14" y="59"/>
                      <a:pt x="18" y="45"/>
                      <a:pt x="32" y="43"/>
                    </a:cubicBezTo>
                    <a:cubicBezTo>
                      <a:pt x="46" y="41"/>
                      <a:pt x="46" y="29"/>
                      <a:pt x="55" y="14"/>
                    </a:cubicBezTo>
                    <a:cubicBezTo>
                      <a:pt x="64" y="0"/>
                      <a:pt x="96" y="4"/>
                      <a:pt x="89" y="33"/>
                    </a:cubicBezTo>
                    <a:cubicBezTo>
                      <a:pt x="81" y="72"/>
                      <a:pt x="62" y="61"/>
                      <a:pt x="55" y="76"/>
                    </a:cubicBezTo>
                    <a:cubicBezTo>
                      <a:pt x="49" y="92"/>
                      <a:pt x="61" y="110"/>
                      <a:pt x="52" y="126"/>
                    </a:cubicBezTo>
                    <a:cubicBezTo>
                      <a:pt x="43" y="143"/>
                      <a:pt x="25" y="135"/>
                      <a:pt x="14" y="169"/>
                    </a:cubicBezTo>
                    <a:close/>
                  </a:path>
                </a:pathLst>
              </a:custGeom>
              <a:solidFill>
                <a:srgbClr val="F15A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30" name="组合 329">
                <a:extLst>
                  <a:ext uri="{FF2B5EF4-FFF2-40B4-BE49-F238E27FC236}">
                    <a16:creationId xmlns:a16="http://schemas.microsoft.com/office/drawing/2014/main" id="{36700FD5-072E-43D8-8445-C155538605C2}"/>
                  </a:ext>
                </a:extLst>
              </p:cNvPr>
              <p:cNvGrpSpPr/>
              <p:nvPr userDrawn="1"/>
            </p:nvGrpSpPr>
            <p:grpSpPr>
              <a:xfrm>
                <a:off x="1696676" y="5775514"/>
                <a:ext cx="1136650" cy="2309812"/>
                <a:chOff x="1696676" y="5775514"/>
                <a:chExt cx="1136650" cy="2309812"/>
              </a:xfrm>
            </p:grpSpPr>
            <p:sp>
              <p:nvSpPr>
                <p:cNvPr id="1503" name="任意多边形: 形状 1502">
                  <a:extLst>
                    <a:ext uri="{FF2B5EF4-FFF2-40B4-BE49-F238E27FC236}">
                      <a16:creationId xmlns:a16="http://schemas.microsoft.com/office/drawing/2014/main" id="{560A3163-AAC3-4AAA-9E1C-24F0740EF5A4}"/>
                    </a:ext>
                  </a:extLst>
                </p:cNvPr>
                <p:cNvSpPr/>
                <p:nvPr userDrawn="1"/>
              </p:nvSpPr>
              <p:spPr bwMode="auto">
                <a:xfrm>
                  <a:off x="1696676" y="5775514"/>
                  <a:ext cx="736600" cy="1285875"/>
                </a:xfrm>
                <a:custGeom>
                  <a:avLst/>
                  <a:gdLst>
                    <a:gd name="T0" fmla="*/ 97 w 114"/>
                    <a:gd name="T1" fmla="*/ 200 h 200"/>
                    <a:gd name="T2" fmla="*/ 110 w 114"/>
                    <a:gd name="T3" fmla="*/ 143 h 200"/>
                    <a:gd name="T4" fmla="*/ 91 w 114"/>
                    <a:gd name="T5" fmla="*/ 98 h 200"/>
                    <a:gd name="T6" fmla="*/ 75 w 114"/>
                    <a:gd name="T7" fmla="*/ 51 h 200"/>
                    <a:gd name="T8" fmla="*/ 48 w 114"/>
                    <a:gd name="T9" fmla="*/ 17 h 200"/>
                    <a:gd name="T10" fmla="*/ 7 w 114"/>
                    <a:gd name="T11" fmla="*/ 40 h 200"/>
                    <a:gd name="T12" fmla="*/ 48 w 114"/>
                    <a:gd name="T13" fmla="*/ 91 h 200"/>
                    <a:gd name="T14" fmla="*/ 52 w 114"/>
                    <a:gd name="T15" fmla="*/ 150 h 200"/>
                    <a:gd name="T16" fmla="*/ 97 w 114"/>
                    <a:gd name="T17" fmla="*/ 200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4" h="200">
                      <a:moveTo>
                        <a:pt x="97" y="200"/>
                      </a:moveTo>
                      <a:cubicBezTo>
                        <a:pt x="97" y="200"/>
                        <a:pt x="114" y="166"/>
                        <a:pt x="110" y="143"/>
                      </a:cubicBezTo>
                      <a:cubicBezTo>
                        <a:pt x="106" y="120"/>
                        <a:pt x="86" y="125"/>
                        <a:pt x="91" y="98"/>
                      </a:cubicBezTo>
                      <a:cubicBezTo>
                        <a:pt x="97" y="70"/>
                        <a:pt x="92" y="54"/>
                        <a:pt x="75" y="51"/>
                      </a:cubicBezTo>
                      <a:cubicBezTo>
                        <a:pt x="59" y="49"/>
                        <a:pt x="59" y="35"/>
                        <a:pt x="48" y="17"/>
                      </a:cubicBezTo>
                      <a:cubicBezTo>
                        <a:pt x="38" y="0"/>
                        <a:pt x="0" y="5"/>
                        <a:pt x="7" y="40"/>
                      </a:cubicBezTo>
                      <a:cubicBezTo>
                        <a:pt x="17" y="86"/>
                        <a:pt x="40" y="73"/>
                        <a:pt x="48" y="91"/>
                      </a:cubicBezTo>
                      <a:cubicBezTo>
                        <a:pt x="55" y="109"/>
                        <a:pt x="41" y="131"/>
                        <a:pt x="52" y="150"/>
                      </a:cubicBezTo>
                      <a:cubicBezTo>
                        <a:pt x="63" y="170"/>
                        <a:pt x="84" y="161"/>
                        <a:pt x="97" y="200"/>
                      </a:cubicBezTo>
                      <a:close/>
                    </a:path>
                  </a:pathLst>
                </a:custGeom>
                <a:solidFill>
                  <a:srgbClr val="F4B0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4" name="任意多边形: 形状 1503">
                  <a:extLst>
                    <a:ext uri="{FF2B5EF4-FFF2-40B4-BE49-F238E27FC236}">
                      <a16:creationId xmlns:a16="http://schemas.microsoft.com/office/drawing/2014/main" id="{4F6BAFB3-66F3-4F0E-9A8D-1836B6F015D9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5988239"/>
                  <a:ext cx="452438" cy="1292225"/>
                </a:xfrm>
                <a:custGeom>
                  <a:avLst/>
                  <a:gdLst>
                    <a:gd name="T0" fmla="*/ 67 w 70"/>
                    <a:gd name="T1" fmla="*/ 201 h 201"/>
                    <a:gd name="T2" fmla="*/ 65 w 70"/>
                    <a:gd name="T3" fmla="*/ 201 h 201"/>
                    <a:gd name="T4" fmla="*/ 62 w 70"/>
                    <a:gd name="T5" fmla="*/ 136 h 201"/>
                    <a:gd name="T6" fmla="*/ 0 w 70"/>
                    <a:gd name="T7" fmla="*/ 2 h 201"/>
                    <a:gd name="T8" fmla="*/ 2 w 70"/>
                    <a:gd name="T9" fmla="*/ 0 h 201"/>
                    <a:gd name="T10" fmla="*/ 64 w 70"/>
                    <a:gd name="T11" fmla="*/ 135 h 201"/>
                    <a:gd name="T12" fmla="*/ 67 w 70"/>
                    <a:gd name="T13" fmla="*/ 2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0" h="201">
                      <a:moveTo>
                        <a:pt x="67" y="201"/>
                      </a:moveTo>
                      <a:cubicBezTo>
                        <a:pt x="65" y="201"/>
                        <a:pt x="65" y="201"/>
                        <a:pt x="65" y="201"/>
                      </a:cubicBezTo>
                      <a:cubicBezTo>
                        <a:pt x="65" y="201"/>
                        <a:pt x="68" y="174"/>
                        <a:pt x="62" y="136"/>
                      </a:cubicBezTo>
                      <a:cubicBezTo>
                        <a:pt x="56" y="101"/>
                        <a:pt x="40" y="49"/>
                        <a:pt x="0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42" y="48"/>
                        <a:pt x="58" y="100"/>
                        <a:pt x="64" y="135"/>
                      </a:cubicBezTo>
                      <a:cubicBezTo>
                        <a:pt x="70" y="174"/>
                        <a:pt x="67" y="201"/>
                        <a:pt x="67" y="201"/>
                      </a:cubicBezTo>
                    </a:path>
                  </a:pathLst>
                </a:custGeom>
                <a:solidFill>
                  <a:srgbClr val="1B1B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6" name="任意多边形: 形状 1505">
                  <a:extLst>
                    <a:ext uri="{FF2B5EF4-FFF2-40B4-BE49-F238E27FC236}">
                      <a16:creationId xmlns:a16="http://schemas.microsoft.com/office/drawing/2014/main" id="{5A660297-D014-4957-BA9D-5A257E3A8E0B}"/>
                    </a:ext>
                  </a:extLst>
                </p:cNvPr>
                <p:cNvSpPr/>
                <p:nvPr userDrawn="1"/>
              </p:nvSpPr>
              <p:spPr bwMode="auto">
                <a:xfrm>
                  <a:off x="2387238" y="6193026"/>
                  <a:ext cx="381000" cy="1087438"/>
                </a:xfrm>
                <a:custGeom>
                  <a:avLst/>
                  <a:gdLst>
                    <a:gd name="T0" fmla="*/ 3 w 59"/>
                    <a:gd name="T1" fmla="*/ 169 h 169"/>
                    <a:gd name="T2" fmla="*/ 6 w 59"/>
                    <a:gd name="T3" fmla="*/ 114 h 169"/>
                    <a:gd name="T4" fmla="*/ 58 w 59"/>
                    <a:gd name="T5" fmla="*/ 0 h 169"/>
                    <a:gd name="T6" fmla="*/ 59 w 59"/>
                    <a:gd name="T7" fmla="*/ 1 h 169"/>
                    <a:gd name="T8" fmla="*/ 8 w 59"/>
                    <a:gd name="T9" fmla="*/ 114 h 169"/>
                    <a:gd name="T10" fmla="*/ 5 w 59"/>
                    <a:gd name="T11" fmla="*/ 169 h 169"/>
                    <a:gd name="T12" fmla="*/ 3 w 59"/>
                    <a:gd name="T13" fmla="*/ 169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69">
                      <a:moveTo>
                        <a:pt x="3" y="169"/>
                      </a:moveTo>
                      <a:cubicBezTo>
                        <a:pt x="3" y="169"/>
                        <a:pt x="0" y="146"/>
                        <a:pt x="6" y="114"/>
                      </a:cubicBezTo>
                      <a:cubicBezTo>
                        <a:pt x="11" y="84"/>
                        <a:pt x="24" y="40"/>
                        <a:pt x="58" y="0"/>
                      </a:cubicBezTo>
                      <a:cubicBezTo>
                        <a:pt x="59" y="1"/>
                        <a:pt x="59" y="1"/>
                        <a:pt x="59" y="1"/>
                      </a:cubicBezTo>
                      <a:cubicBezTo>
                        <a:pt x="25" y="41"/>
                        <a:pt x="13" y="84"/>
                        <a:pt x="8" y="114"/>
                      </a:cubicBezTo>
                      <a:cubicBezTo>
                        <a:pt x="2" y="146"/>
                        <a:pt x="5" y="169"/>
                        <a:pt x="5" y="169"/>
                      </a:cubicBezTo>
                      <a:cubicBezTo>
                        <a:pt x="3" y="169"/>
                        <a:pt x="3" y="169"/>
                        <a:pt x="3" y="169"/>
                      </a:cubicBezTo>
                    </a:path>
                  </a:pathLst>
                </a:custGeom>
                <a:solidFill>
                  <a:srgbClr val="1B1B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7" name="任意多边形: 形状 1506">
                  <a:extLst>
                    <a:ext uri="{FF2B5EF4-FFF2-40B4-BE49-F238E27FC236}">
                      <a16:creationId xmlns:a16="http://schemas.microsoft.com/office/drawing/2014/main" id="{A2C087CA-2331-4EA7-BC59-C2478260D789}"/>
                    </a:ext>
                  </a:extLst>
                </p:cNvPr>
                <p:cNvSpPr/>
                <p:nvPr userDrawn="1"/>
              </p:nvSpPr>
              <p:spPr bwMode="auto">
                <a:xfrm>
                  <a:off x="1936388" y="7183626"/>
                  <a:ext cx="858838" cy="850900"/>
                </a:xfrm>
                <a:custGeom>
                  <a:avLst/>
                  <a:gdLst>
                    <a:gd name="T0" fmla="*/ 463 w 541"/>
                    <a:gd name="T1" fmla="*/ 536 h 536"/>
                    <a:gd name="T2" fmla="*/ 77 w 541"/>
                    <a:gd name="T3" fmla="*/ 536 h 536"/>
                    <a:gd name="T4" fmla="*/ 0 w 541"/>
                    <a:gd name="T5" fmla="*/ 0 h 536"/>
                    <a:gd name="T6" fmla="*/ 541 w 541"/>
                    <a:gd name="T7" fmla="*/ 0 h 536"/>
                    <a:gd name="T8" fmla="*/ 463 w 541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536">
                      <a:moveTo>
                        <a:pt x="463" y="536"/>
                      </a:moveTo>
                      <a:lnTo>
                        <a:pt x="77" y="536"/>
                      </a:lnTo>
                      <a:lnTo>
                        <a:pt x="0" y="0"/>
                      </a:lnTo>
                      <a:lnTo>
                        <a:pt x="541" y="0"/>
                      </a:lnTo>
                      <a:lnTo>
                        <a:pt x="463" y="536"/>
                      </a:lnTo>
                      <a:close/>
                    </a:path>
                  </a:pathLst>
                </a:cu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8" name="任意多边形: 形状 1507">
                  <a:extLst>
                    <a:ext uri="{FF2B5EF4-FFF2-40B4-BE49-F238E27FC236}">
                      <a16:creationId xmlns:a16="http://schemas.microsoft.com/office/drawing/2014/main" id="{324AA49B-30D3-43E7-B78E-0B27E2D7FD5B}"/>
                    </a:ext>
                  </a:extLst>
                </p:cNvPr>
                <p:cNvSpPr/>
                <p:nvPr userDrawn="1"/>
              </p:nvSpPr>
              <p:spPr bwMode="auto">
                <a:xfrm>
                  <a:off x="1936388" y="7183626"/>
                  <a:ext cx="858838" cy="850900"/>
                </a:xfrm>
                <a:custGeom>
                  <a:avLst/>
                  <a:gdLst>
                    <a:gd name="T0" fmla="*/ 463 w 541"/>
                    <a:gd name="T1" fmla="*/ 536 h 536"/>
                    <a:gd name="T2" fmla="*/ 77 w 541"/>
                    <a:gd name="T3" fmla="*/ 536 h 536"/>
                    <a:gd name="T4" fmla="*/ 0 w 541"/>
                    <a:gd name="T5" fmla="*/ 0 h 536"/>
                    <a:gd name="T6" fmla="*/ 541 w 541"/>
                    <a:gd name="T7" fmla="*/ 0 h 536"/>
                    <a:gd name="T8" fmla="*/ 463 w 541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536">
                      <a:moveTo>
                        <a:pt x="463" y="536"/>
                      </a:moveTo>
                      <a:lnTo>
                        <a:pt x="77" y="536"/>
                      </a:lnTo>
                      <a:lnTo>
                        <a:pt x="0" y="0"/>
                      </a:lnTo>
                      <a:lnTo>
                        <a:pt x="541" y="0"/>
                      </a:lnTo>
                      <a:lnTo>
                        <a:pt x="463" y="536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9" name="任意多边形: 形状 1508">
                  <a:extLst>
                    <a:ext uri="{FF2B5EF4-FFF2-40B4-BE49-F238E27FC236}">
                      <a16:creationId xmlns:a16="http://schemas.microsoft.com/office/drawing/2014/main" id="{5EB0F2AD-9481-4168-8BF2-E124A1DB46C1}"/>
                    </a:ext>
                  </a:extLst>
                </p:cNvPr>
                <p:cNvSpPr/>
                <p:nvPr userDrawn="1"/>
              </p:nvSpPr>
              <p:spPr bwMode="auto">
                <a:xfrm>
                  <a:off x="1993538" y="7339201"/>
                  <a:ext cx="180975" cy="695325"/>
                </a:xfrm>
                <a:custGeom>
                  <a:avLst/>
                  <a:gdLst>
                    <a:gd name="T0" fmla="*/ 53 w 114"/>
                    <a:gd name="T1" fmla="*/ 0 h 438"/>
                    <a:gd name="T2" fmla="*/ 0 w 114"/>
                    <a:gd name="T3" fmla="*/ 0 h 438"/>
                    <a:gd name="T4" fmla="*/ 66 w 114"/>
                    <a:gd name="T5" fmla="*/ 438 h 438"/>
                    <a:gd name="T6" fmla="*/ 66 w 114"/>
                    <a:gd name="T7" fmla="*/ 438 h 438"/>
                    <a:gd name="T8" fmla="*/ 114 w 114"/>
                    <a:gd name="T9" fmla="*/ 438 h 438"/>
                    <a:gd name="T10" fmla="*/ 53 w 114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438">
                      <a:moveTo>
                        <a:pt x="53" y="0"/>
                      </a:moveTo>
                      <a:lnTo>
                        <a:pt x="0" y="0"/>
                      </a:lnTo>
                      <a:lnTo>
                        <a:pt x="66" y="438"/>
                      </a:lnTo>
                      <a:lnTo>
                        <a:pt x="66" y="438"/>
                      </a:lnTo>
                      <a:lnTo>
                        <a:pt x="114" y="438"/>
                      </a:lnTo>
                      <a:lnTo>
                        <a:pt x="53" y="0"/>
                      </a:lnTo>
                      <a:close/>
                    </a:path>
                  </a:pathLst>
                </a:custGeom>
                <a:solidFill>
                  <a:srgbClr val="E5D9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0" name="任意多边形: 形状 1509">
                  <a:extLst>
                    <a:ext uri="{FF2B5EF4-FFF2-40B4-BE49-F238E27FC236}">
                      <a16:creationId xmlns:a16="http://schemas.microsoft.com/office/drawing/2014/main" id="{EC60236A-090C-478D-BB65-0A1B013EB407}"/>
                    </a:ext>
                  </a:extLst>
                </p:cNvPr>
                <p:cNvSpPr/>
                <p:nvPr userDrawn="1"/>
              </p:nvSpPr>
              <p:spPr bwMode="auto">
                <a:xfrm>
                  <a:off x="1993538" y="7339201"/>
                  <a:ext cx="180975" cy="695325"/>
                </a:xfrm>
                <a:custGeom>
                  <a:avLst/>
                  <a:gdLst>
                    <a:gd name="T0" fmla="*/ 53 w 114"/>
                    <a:gd name="T1" fmla="*/ 0 h 438"/>
                    <a:gd name="T2" fmla="*/ 0 w 114"/>
                    <a:gd name="T3" fmla="*/ 0 h 438"/>
                    <a:gd name="T4" fmla="*/ 66 w 114"/>
                    <a:gd name="T5" fmla="*/ 438 h 438"/>
                    <a:gd name="T6" fmla="*/ 66 w 114"/>
                    <a:gd name="T7" fmla="*/ 438 h 438"/>
                    <a:gd name="T8" fmla="*/ 114 w 114"/>
                    <a:gd name="T9" fmla="*/ 438 h 438"/>
                    <a:gd name="T10" fmla="*/ 53 w 114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438">
                      <a:moveTo>
                        <a:pt x="53" y="0"/>
                      </a:moveTo>
                      <a:lnTo>
                        <a:pt x="0" y="0"/>
                      </a:lnTo>
                      <a:lnTo>
                        <a:pt x="66" y="438"/>
                      </a:lnTo>
                      <a:lnTo>
                        <a:pt x="66" y="438"/>
                      </a:lnTo>
                      <a:lnTo>
                        <a:pt x="114" y="438"/>
                      </a:lnTo>
                      <a:lnTo>
                        <a:pt x="5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1" name="任意多边形: 形状 1510">
                  <a:extLst>
                    <a:ext uri="{FF2B5EF4-FFF2-40B4-BE49-F238E27FC236}">
                      <a16:creationId xmlns:a16="http://schemas.microsoft.com/office/drawing/2014/main" id="{182BD298-9A0E-4E16-999B-D932FAD3CBB4}"/>
                    </a:ext>
                  </a:extLst>
                </p:cNvPr>
                <p:cNvSpPr/>
                <p:nvPr userDrawn="1"/>
              </p:nvSpPr>
              <p:spPr bwMode="auto">
                <a:xfrm>
                  <a:off x="2504713" y="7339201"/>
                  <a:ext cx="263525" cy="695325"/>
                </a:xfrm>
                <a:custGeom>
                  <a:avLst/>
                  <a:gdLst>
                    <a:gd name="T0" fmla="*/ 166 w 166"/>
                    <a:gd name="T1" fmla="*/ 0 h 438"/>
                    <a:gd name="T2" fmla="*/ 65 w 166"/>
                    <a:gd name="T3" fmla="*/ 0 h 438"/>
                    <a:gd name="T4" fmla="*/ 0 w 166"/>
                    <a:gd name="T5" fmla="*/ 438 h 438"/>
                    <a:gd name="T6" fmla="*/ 77 w 166"/>
                    <a:gd name="T7" fmla="*/ 438 h 438"/>
                    <a:gd name="T8" fmla="*/ 105 w 166"/>
                    <a:gd name="T9" fmla="*/ 438 h 438"/>
                    <a:gd name="T10" fmla="*/ 166 w 166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6" h="438">
                      <a:moveTo>
                        <a:pt x="166" y="0"/>
                      </a:moveTo>
                      <a:lnTo>
                        <a:pt x="65" y="0"/>
                      </a:lnTo>
                      <a:lnTo>
                        <a:pt x="0" y="438"/>
                      </a:lnTo>
                      <a:lnTo>
                        <a:pt x="77" y="438"/>
                      </a:lnTo>
                      <a:lnTo>
                        <a:pt x="105" y="438"/>
                      </a:lnTo>
                      <a:lnTo>
                        <a:pt x="166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2" name="任意多边形: 形状 1511">
                  <a:extLst>
                    <a:ext uri="{FF2B5EF4-FFF2-40B4-BE49-F238E27FC236}">
                      <a16:creationId xmlns:a16="http://schemas.microsoft.com/office/drawing/2014/main" id="{31C44E8E-5EFB-4B4F-9C50-6C010DFAB34B}"/>
                    </a:ext>
                  </a:extLst>
                </p:cNvPr>
                <p:cNvSpPr/>
                <p:nvPr userDrawn="1"/>
              </p:nvSpPr>
              <p:spPr bwMode="auto">
                <a:xfrm>
                  <a:off x="2504713" y="7339201"/>
                  <a:ext cx="263525" cy="695325"/>
                </a:xfrm>
                <a:custGeom>
                  <a:avLst/>
                  <a:gdLst>
                    <a:gd name="T0" fmla="*/ 166 w 166"/>
                    <a:gd name="T1" fmla="*/ 0 h 438"/>
                    <a:gd name="T2" fmla="*/ 65 w 166"/>
                    <a:gd name="T3" fmla="*/ 0 h 438"/>
                    <a:gd name="T4" fmla="*/ 0 w 166"/>
                    <a:gd name="T5" fmla="*/ 438 h 438"/>
                    <a:gd name="T6" fmla="*/ 77 w 166"/>
                    <a:gd name="T7" fmla="*/ 438 h 438"/>
                    <a:gd name="T8" fmla="*/ 105 w 166"/>
                    <a:gd name="T9" fmla="*/ 438 h 438"/>
                    <a:gd name="T10" fmla="*/ 166 w 166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6" h="438">
                      <a:moveTo>
                        <a:pt x="166" y="0"/>
                      </a:moveTo>
                      <a:lnTo>
                        <a:pt x="65" y="0"/>
                      </a:lnTo>
                      <a:lnTo>
                        <a:pt x="0" y="438"/>
                      </a:lnTo>
                      <a:lnTo>
                        <a:pt x="77" y="438"/>
                      </a:lnTo>
                      <a:lnTo>
                        <a:pt x="105" y="438"/>
                      </a:lnTo>
                      <a:lnTo>
                        <a:pt x="16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3" name="任意多边形: 形状 1512">
                  <a:extLst>
                    <a:ext uri="{FF2B5EF4-FFF2-40B4-BE49-F238E27FC236}">
                      <a16:creationId xmlns:a16="http://schemas.microsoft.com/office/drawing/2014/main" id="{0B12F750-07D9-4FAD-A4AF-85B5746BD50C}"/>
                    </a:ext>
                  </a:extLst>
                </p:cNvPr>
                <p:cNvSpPr/>
                <p:nvPr userDrawn="1"/>
              </p:nvSpPr>
              <p:spPr bwMode="auto">
                <a:xfrm>
                  <a:off x="2768238" y="7286814"/>
                  <a:ext cx="14288" cy="52388"/>
                </a:xfrm>
                <a:custGeom>
                  <a:avLst/>
                  <a:gdLst>
                    <a:gd name="T0" fmla="*/ 9 w 9"/>
                    <a:gd name="T1" fmla="*/ 0 h 33"/>
                    <a:gd name="T2" fmla="*/ 9 w 9"/>
                    <a:gd name="T3" fmla="*/ 0 h 33"/>
                    <a:gd name="T4" fmla="*/ 0 w 9"/>
                    <a:gd name="T5" fmla="*/ 33 h 33"/>
                    <a:gd name="T6" fmla="*/ 0 w 9"/>
                    <a:gd name="T7" fmla="*/ 33 h 33"/>
                    <a:gd name="T8" fmla="*/ 9 w 9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3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F9B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4" name="任意多边形: 形状 1513">
                  <a:extLst>
                    <a:ext uri="{FF2B5EF4-FFF2-40B4-BE49-F238E27FC236}">
                      <a16:creationId xmlns:a16="http://schemas.microsoft.com/office/drawing/2014/main" id="{2E5DC5DE-8227-4335-983A-40A5CBBBC90A}"/>
                    </a:ext>
                  </a:extLst>
                </p:cNvPr>
                <p:cNvSpPr/>
                <p:nvPr userDrawn="1"/>
              </p:nvSpPr>
              <p:spPr bwMode="auto">
                <a:xfrm>
                  <a:off x="2768238" y="7286814"/>
                  <a:ext cx="14288" cy="52388"/>
                </a:xfrm>
                <a:custGeom>
                  <a:avLst/>
                  <a:gdLst>
                    <a:gd name="T0" fmla="*/ 9 w 9"/>
                    <a:gd name="T1" fmla="*/ 0 h 33"/>
                    <a:gd name="T2" fmla="*/ 9 w 9"/>
                    <a:gd name="T3" fmla="*/ 0 h 33"/>
                    <a:gd name="T4" fmla="*/ 0 w 9"/>
                    <a:gd name="T5" fmla="*/ 33 h 33"/>
                    <a:gd name="T6" fmla="*/ 0 w 9"/>
                    <a:gd name="T7" fmla="*/ 33 h 33"/>
                    <a:gd name="T8" fmla="*/ 9 w 9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3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5" name="任意多边形: 形状 1514">
                  <a:extLst>
                    <a:ext uri="{FF2B5EF4-FFF2-40B4-BE49-F238E27FC236}">
                      <a16:creationId xmlns:a16="http://schemas.microsoft.com/office/drawing/2014/main" id="{5D3B31D1-CD5F-435E-8F7F-0F19FEA13E47}"/>
                    </a:ext>
                  </a:extLst>
                </p:cNvPr>
                <p:cNvSpPr/>
                <p:nvPr userDrawn="1"/>
              </p:nvSpPr>
              <p:spPr bwMode="auto">
                <a:xfrm>
                  <a:off x="1949088" y="7286814"/>
                  <a:ext cx="665163" cy="52388"/>
                </a:xfrm>
                <a:custGeom>
                  <a:avLst/>
                  <a:gdLst>
                    <a:gd name="T0" fmla="*/ 24 w 419"/>
                    <a:gd name="T1" fmla="*/ 0 h 33"/>
                    <a:gd name="T2" fmla="*/ 0 w 419"/>
                    <a:gd name="T3" fmla="*/ 0 h 33"/>
                    <a:gd name="T4" fmla="*/ 0 w 419"/>
                    <a:gd name="T5" fmla="*/ 4 h 33"/>
                    <a:gd name="T6" fmla="*/ 4 w 419"/>
                    <a:gd name="T7" fmla="*/ 33 h 33"/>
                    <a:gd name="T8" fmla="*/ 28 w 419"/>
                    <a:gd name="T9" fmla="*/ 33 h 33"/>
                    <a:gd name="T10" fmla="*/ 24 w 419"/>
                    <a:gd name="T11" fmla="*/ 0 h 33"/>
                    <a:gd name="T12" fmla="*/ 419 w 419"/>
                    <a:gd name="T13" fmla="*/ 0 h 33"/>
                    <a:gd name="T14" fmla="*/ 73 w 419"/>
                    <a:gd name="T15" fmla="*/ 0 h 33"/>
                    <a:gd name="T16" fmla="*/ 81 w 419"/>
                    <a:gd name="T17" fmla="*/ 33 h 33"/>
                    <a:gd name="T18" fmla="*/ 415 w 419"/>
                    <a:gd name="T19" fmla="*/ 33 h 33"/>
                    <a:gd name="T20" fmla="*/ 419 w 419"/>
                    <a:gd name="T2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9" h="33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4" y="33"/>
                      </a:lnTo>
                      <a:lnTo>
                        <a:pt x="28" y="33"/>
                      </a:lnTo>
                      <a:lnTo>
                        <a:pt x="24" y="0"/>
                      </a:lnTo>
                      <a:close/>
                      <a:moveTo>
                        <a:pt x="419" y="0"/>
                      </a:moveTo>
                      <a:lnTo>
                        <a:pt x="73" y="0"/>
                      </a:lnTo>
                      <a:lnTo>
                        <a:pt x="81" y="33"/>
                      </a:lnTo>
                      <a:lnTo>
                        <a:pt x="415" y="33"/>
                      </a:lnTo>
                      <a:lnTo>
                        <a:pt x="419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6" name="任意多边形: 形状 1515">
                  <a:extLst>
                    <a:ext uri="{FF2B5EF4-FFF2-40B4-BE49-F238E27FC236}">
                      <a16:creationId xmlns:a16="http://schemas.microsoft.com/office/drawing/2014/main" id="{5EC11E60-C84C-40B5-A3D0-AAD59D7378F2}"/>
                    </a:ext>
                  </a:extLst>
                </p:cNvPr>
                <p:cNvSpPr/>
                <p:nvPr userDrawn="1"/>
              </p:nvSpPr>
              <p:spPr bwMode="auto">
                <a:xfrm>
                  <a:off x="1949088" y="7286814"/>
                  <a:ext cx="665163" cy="52388"/>
                </a:xfrm>
                <a:custGeom>
                  <a:avLst/>
                  <a:gdLst>
                    <a:gd name="T0" fmla="*/ 24 w 419"/>
                    <a:gd name="T1" fmla="*/ 0 h 33"/>
                    <a:gd name="T2" fmla="*/ 0 w 419"/>
                    <a:gd name="T3" fmla="*/ 0 h 33"/>
                    <a:gd name="T4" fmla="*/ 0 w 419"/>
                    <a:gd name="T5" fmla="*/ 4 h 33"/>
                    <a:gd name="T6" fmla="*/ 4 w 419"/>
                    <a:gd name="T7" fmla="*/ 33 h 33"/>
                    <a:gd name="T8" fmla="*/ 28 w 419"/>
                    <a:gd name="T9" fmla="*/ 33 h 33"/>
                    <a:gd name="T10" fmla="*/ 24 w 419"/>
                    <a:gd name="T11" fmla="*/ 0 h 33"/>
                    <a:gd name="T12" fmla="*/ 419 w 419"/>
                    <a:gd name="T13" fmla="*/ 0 h 33"/>
                    <a:gd name="T14" fmla="*/ 73 w 419"/>
                    <a:gd name="T15" fmla="*/ 0 h 33"/>
                    <a:gd name="T16" fmla="*/ 81 w 419"/>
                    <a:gd name="T17" fmla="*/ 33 h 33"/>
                    <a:gd name="T18" fmla="*/ 415 w 419"/>
                    <a:gd name="T19" fmla="*/ 33 h 33"/>
                    <a:gd name="T20" fmla="*/ 419 w 419"/>
                    <a:gd name="T2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9" h="33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4" y="33"/>
                      </a:lnTo>
                      <a:lnTo>
                        <a:pt x="28" y="33"/>
                      </a:lnTo>
                      <a:lnTo>
                        <a:pt x="24" y="0"/>
                      </a:lnTo>
                      <a:moveTo>
                        <a:pt x="419" y="0"/>
                      </a:moveTo>
                      <a:lnTo>
                        <a:pt x="73" y="0"/>
                      </a:lnTo>
                      <a:lnTo>
                        <a:pt x="81" y="33"/>
                      </a:lnTo>
                      <a:lnTo>
                        <a:pt x="415" y="33"/>
                      </a:lnTo>
                      <a:lnTo>
                        <a:pt x="41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7" name="任意多边形: 形状 1516">
                  <a:extLst>
                    <a:ext uri="{FF2B5EF4-FFF2-40B4-BE49-F238E27FC236}">
                      <a16:creationId xmlns:a16="http://schemas.microsoft.com/office/drawing/2014/main" id="{E234A795-778C-4CF6-9EAD-B87B6E2DB9FB}"/>
                    </a:ext>
                  </a:extLst>
                </p:cNvPr>
                <p:cNvSpPr/>
                <p:nvPr userDrawn="1"/>
              </p:nvSpPr>
              <p:spPr bwMode="auto">
                <a:xfrm>
                  <a:off x="1987188" y="7286814"/>
                  <a:ext cx="90488" cy="52388"/>
                </a:xfrm>
                <a:custGeom>
                  <a:avLst/>
                  <a:gdLst>
                    <a:gd name="T0" fmla="*/ 49 w 57"/>
                    <a:gd name="T1" fmla="*/ 0 h 33"/>
                    <a:gd name="T2" fmla="*/ 0 w 57"/>
                    <a:gd name="T3" fmla="*/ 0 h 33"/>
                    <a:gd name="T4" fmla="*/ 4 w 57"/>
                    <a:gd name="T5" fmla="*/ 33 h 33"/>
                    <a:gd name="T6" fmla="*/ 57 w 57"/>
                    <a:gd name="T7" fmla="*/ 33 h 33"/>
                    <a:gd name="T8" fmla="*/ 49 w 57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33">
                      <a:moveTo>
                        <a:pt x="49" y="0"/>
                      </a:moveTo>
                      <a:lnTo>
                        <a:pt x="0" y="0"/>
                      </a:lnTo>
                      <a:lnTo>
                        <a:pt x="4" y="33"/>
                      </a:lnTo>
                      <a:lnTo>
                        <a:pt x="57" y="33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D1BF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8" name="任意多边形: 形状 1517">
                  <a:extLst>
                    <a:ext uri="{FF2B5EF4-FFF2-40B4-BE49-F238E27FC236}">
                      <a16:creationId xmlns:a16="http://schemas.microsoft.com/office/drawing/2014/main" id="{C2C6CE8C-829E-4B98-BEE7-549B3763C7E3}"/>
                    </a:ext>
                  </a:extLst>
                </p:cNvPr>
                <p:cNvSpPr/>
                <p:nvPr userDrawn="1"/>
              </p:nvSpPr>
              <p:spPr bwMode="auto">
                <a:xfrm>
                  <a:off x="1987188" y="7286814"/>
                  <a:ext cx="90488" cy="52388"/>
                </a:xfrm>
                <a:custGeom>
                  <a:avLst/>
                  <a:gdLst>
                    <a:gd name="T0" fmla="*/ 49 w 57"/>
                    <a:gd name="T1" fmla="*/ 0 h 33"/>
                    <a:gd name="T2" fmla="*/ 0 w 57"/>
                    <a:gd name="T3" fmla="*/ 0 h 33"/>
                    <a:gd name="T4" fmla="*/ 4 w 57"/>
                    <a:gd name="T5" fmla="*/ 33 h 33"/>
                    <a:gd name="T6" fmla="*/ 57 w 57"/>
                    <a:gd name="T7" fmla="*/ 33 h 33"/>
                    <a:gd name="T8" fmla="*/ 49 w 57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33">
                      <a:moveTo>
                        <a:pt x="49" y="0"/>
                      </a:moveTo>
                      <a:lnTo>
                        <a:pt x="0" y="0"/>
                      </a:lnTo>
                      <a:lnTo>
                        <a:pt x="4" y="33"/>
                      </a:lnTo>
                      <a:lnTo>
                        <a:pt x="57" y="33"/>
                      </a:lnTo>
                      <a:lnTo>
                        <a:pt x="4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9" name="任意多边形: 形状 1518">
                  <a:extLst>
                    <a:ext uri="{FF2B5EF4-FFF2-40B4-BE49-F238E27FC236}">
                      <a16:creationId xmlns:a16="http://schemas.microsoft.com/office/drawing/2014/main" id="{4DC7C9FF-F54D-4641-A71B-F10A2DACF8F5}"/>
                    </a:ext>
                  </a:extLst>
                </p:cNvPr>
                <p:cNvSpPr/>
                <p:nvPr userDrawn="1"/>
              </p:nvSpPr>
              <p:spPr bwMode="auto">
                <a:xfrm>
                  <a:off x="2607901" y="7286814"/>
                  <a:ext cx="174625" cy="52388"/>
                </a:xfrm>
                <a:custGeom>
                  <a:avLst/>
                  <a:gdLst>
                    <a:gd name="T0" fmla="*/ 110 w 110"/>
                    <a:gd name="T1" fmla="*/ 0 h 33"/>
                    <a:gd name="T2" fmla="*/ 4 w 110"/>
                    <a:gd name="T3" fmla="*/ 0 h 33"/>
                    <a:gd name="T4" fmla="*/ 0 w 110"/>
                    <a:gd name="T5" fmla="*/ 33 h 33"/>
                    <a:gd name="T6" fmla="*/ 101 w 110"/>
                    <a:gd name="T7" fmla="*/ 33 h 33"/>
                    <a:gd name="T8" fmla="*/ 110 w 110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33">
                      <a:moveTo>
                        <a:pt x="110" y="0"/>
                      </a:moveTo>
                      <a:lnTo>
                        <a:pt x="4" y="0"/>
                      </a:lnTo>
                      <a:lnTo>
                        <a:pt x="0" y="33"/>
                      </a:lnTo>
                      <a:lnTo>
                        <a:pt x="101" y="33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B096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0" name="任意多边形: 形状 1519">
                  <a:extLst>
                    <a:ext uri="{FF2B5EF4-FFF2-40B4-BE49-F238E27FC236}">
                      <a16:creationId xmlns:a16="http://schemas.microsoft.com/office/drawing/2014/main" id="{19158B54-32FE-432C-9A0A-D9052C72ACA8}"/>
                    </a:ext>
                  </a:extLst>
                </p:cNvPr>
                <p:cNvSpPr/>
                <p:nvPr userDrawn="1"/>
              </p:nvSpPr>
              <p:spPr bwMode="auto">
                <a:xfrm>
                  <a:off x="2607901" y="7286814"/>
                  <a:ext cx="174625" cy="52388"/>
                </a:xfrm>
                <a:custGeom>
                  <a:avLst/>
                  <a:gdLst>
                    <a:gd name="T0" fmla="*/ 110 w 110"/>
                    <a:gd name="T1" fmla="*/ 0 h 33"/>
                    <a:gd name="T2" fmla="*/ 4 w 110"/>
                    <a:gd name="T3" fmla="*/ 0 h 33"/>
                    <a:gd name="T4" fmla="*/ 0 w 110"/>
                    <a:gd name="T5" fmla="*/ 33 h 33"/>
                    <a:gd name="T6" fmla="*/ 101 w 110"/>
                    <a:gd name="T7" fmla="*/ 33 h 33"/>
                    <a:gd name="T8" fmla="*/ 110 w 110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33">
                      <a:moveTo>
                        <a:pt x="110" y="0"/>
                      </a:moveTo>
                      <a:lnTo>
                        <a:pt x="4" y="0"/>
                      </a:lnTo>
                      <a:lnTo>
                        <a:pt x="0" y="33"/>
                      </a:lnTo>
                      <a:lnTo>
                        <a:pt x="101" y="33"/>
                      </a:lnTo>
                      <a:lnTo>
                        <a:pt x="11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1" name="矩形 1520">
                  <a:extLst>
                    <a:ext uri="{FF2B5EF4-FFF2-40B4-BE49-F238E27FC236}">
                      <a16:creationId xmlns:a16="http://schemas.microsoft.com/office/drawing/2014/main" id="{81130771-4825-4184-BA6C-1AAF590E43F6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50800"/>
                </a:xfrm>
                <a:prstGeom prst="rect">
                  <a:avLst/>
                </a:pr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2" name="矩形 1521">
                  <a:extLst>
                    <a:ext uri="{FF2B5EF4-FFF2-40B4-BE49-F238E27FC236}">
                      <a16:creationId xmlns:a16="http://schemas.microsoft.com/office/drawing/2014/main" id="{ABDFB94F-6BD3-4139-90D7-0A01E33C2D8A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50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3" name="任意多边形: 形状 1522">
                  <a:extLst>
                    <a:ext uri="{FF2B5EF4-FFF2-40B4-BE49-F238E27FC236}">
                      <a16:creationId xmlns:a16="http://schemas.microsoft.com/office/drawing/2014/main" id="{B25FC844-0122-4A9D-9354-8DA4AC157C16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25400"/>
                </a:xfrm>
                <a:custGeom>
                  <a:avLst/>
                  <a:gdLst>
                    <a:gd name="T0" fmla="*/ 333 w 333"/>
                    <a:gd name="T1" fmla="*/ 0 h 16"/>
                    <a:gd name="T2" fmla="*/ 48 w 333"/>
                    <a:gd name="T3" fmla="*/ 0 h 16"/>
                    <a:gd name="T4" fmla="*/ 0 w 333"/>
                    <a:gd name="T5" fmla="*/ 0 h 16"/>
                    <a:gd name="T6" fmla="*/ 0 w 333"/>
                    <a:gd name="T7" fmla="*/ 16 h 16"/>
                    <a:gd name="T8" fmla="*/ 333 w 333"/>
                    <a:gd name="T9" fmla="*/ 16 h 16"/>
                    <a:gd name="T10" fmla="*/ 333 w 333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3" h="16">
                      <a:moveTo>
                        <a:pt x="333" y="0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333" y="16"/>
                      </a:lnTo>
                      <a:lnTo>
                        <a:pt x="333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4" name="任意多边形: 形状 1523">
                  <a:extLst>
                    <a:ext uri="{FF2B5EF4-FFF2-40B4-BE49-F238E27FC236}">
                      <a16:creationId xmlns:a16="http://schemas.microsoft.com/office/drawing/2014/main" id="{68FC3D34-EEA6-4311-8C46-174BA6000C46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25400"/>
                </a:xfrm>
                <a:custGeom>
                  <a:avLst/>
                  <a:gdLst>
                    <a:gd name="T0" fmla="*/ 333 w 333"/>
                    <a:gd name="T1" fmla="*/ 0 h 16"/>
                    <a:gd name="T2" fmla="*/ 48 w 333"/>
                    <a:gd name="T3" fmla="*/ 0 h 16"/>
                    <a:gd name="T4" fmla="*/ 0 w 333"/>
                    <a:gd name="T5" fmla="*/ 0 h 16"/>
                    <a:gd name="T6" fmla="*/ 0 w 333"/>
                    <a:gd name="T7" fmla="*/ 16 h 16"/>
                    <a:gd name="T8" fmla="*/ 333 w 333"/>
                    <a:gd name="T9" fmla="*/ 16 h 16"/>
                    <a:gd name="T10" fmla="*/ 333 w 333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3" h="16">
                      <a:moveTo>
                        <a:pt x="333" y="0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333" y="16"/>
                      </a:lnTo>
                      <a:lnTo>
                        <a:pt x="33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5" name="矩形 1524">
                  <a:extLst>
                    <a:ext uri="{FF2B5EF4-FFF2-40B4-BE49-F238E27FC236}">
                      <a16:creationId xmlns:a16="http://schemas.microsoft.com/office/drawing/2014/main" id="{73966BF9-F265-4CF8-B671-1CDFD7F96E77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7164576"/>
                  <a:ext cx="936625" cy="122238"/>
                </a:xfrm>
                <a:prstGeom prst="rect">
                  <a:avLst/>
                </a:pr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6" name="矩形 1525">
                  <a:extLst>
                    <a:ext uri="{FF2B5EF4-FFF2-40B4-BE49-F238E27FC236}">
                      <a16:creationId xmlns:a16="http://schemas.microsoft.com/office/drawing/2014/main" id="{A5EF6996-0C8E-4D29-A88B-3F4739944C97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7164576"/>
                  <a:ext cx="936625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7" name="矩形 1526">
                  <a:extLst>
                    <a:ext uri="{FF2B5EF4-FFF2-40B4-BE49-F238E27FC236}">
                      <a16:creationId xmlns:a16="http://schemas.microsoft.com/office/drawing/2014/main" id="{A95F9DE6-7809-4ACA-9623-2D6EF545A8FB}"/>
                    </a:ext>
                  </a:extLst>
                </p:cNvPr>
                <p:cNvSpPr/>
                <p:nvPr userDrawn="1"/>
              </p:nvSpPr>
              <p:spPr bwMode="auto">
                <a:xfrm>
                  <a:off x="2658701" y="7164576"/>
                  <a:ext cx="174625" cy="122238"/>
                </a:xfrm>
                <a:prstGeom prst="rect">
                  <a:avLst/>
                </a:pr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8" name="矩形 1527">
                  <a:extLst>
                    <a:ext uri="{FF2B5EF4-FFF2-40B4-BE49-F238E27FC236}">
                      <a16:creationId xmlns:a16="http://schemas.microsoft.com/office/drawing/2014/main" id="{32935199-08BF-4C97-91F1-DD62FB91FCD0}"/>
                    </a:ext>
                  </a:extLst>
                </p:cNvPr>
                <p:cNvSpPr/>
                <p:nvPr userDrawn="1"/>
              </p:nvSpPr>
              <p:spPr bwMode="auto">
                <a:xfrm>
                  <a:off x="2658701" y="7164576"/>
                  <a:ext cx="174625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9" name="矩形 1528">
                  <a:extLst>
                    <a:ext uri="{FF2B5EF4-FFF2-40B4-BE49-F238E27FC236}">
                      <a16:creationId xmlns:a16="http://schemas.microsoft.com/office/drawing/2014/main" id="{FCEBF682-FA1D-4CF6-8377-9E3D031C6089}"/>
                    </a:ext>
                  </a:extLst>
                </p:cNvPr>
                <p:cNvSpPr/>
                <p:nvPr userDrawn="1"/>
              </p:nvSpPr>
              <p:spPr bwMode="auto">
                <a:xfrm>
                  <a:off x="1917338" y="7164576"/>
                  <a:ext cx="115888" cy="122238"/>
                </a:xfrm>
                <a:prstGeom prst="rect">
                  <a:avLst/>
                </a:prstGeom>
                <a:solidFill>
                  <a:srgbClr val="E5D9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30" name="矩形 1529">
                  <a:extLst>
                    <a:ext uri="{FF2B5EF4-FFF2-40B4-BE49-F238E27FC236}">
                      <a16:creationId xmlns:a16="http://schemas.microsoft.com/office/drawing/2014/main" id="{E287E07B-3744-49FB-ADE2-CD6D32D95A66}"/>
                    </a:ext>
                  </a:extLst>
                </p:cNvPr>
                <p:cNvSpPr/>
                <p:nvPr userDrawn="1"/>
              </p:nvSpPr>
              <p:spPr bwMode="auto">
                <a:xfrm>
                  <a:off x="1917338" y="7164576"/>
                  <a:ext cx="115888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738786" y="2972441"/>
            <a:ext cx="476567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739902" y="3867791"/>
            <a:ext cx="476567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FC544917-670A-4087-B90F-39DDF3E865B9}"/>
              </a:ext>
            </a:extLst>
          </p:cNvPr>
          <p:cNvGrpSpPr/>
          <p:nvPr userDrawn="1"/>
        </p:nvGrpSpPr>
        <p:grpSpPr>
          <a:xfrm>
            <a:off x="992362" y="2177837"/>
            <a:ext cx="2607323" cy="2705577"/>
            <a:chOff x="663550" y="1753175"/>
            <a:chExt cx="4224890" cy="4384100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1FED552A-F5F8-463C-9F28-7EBE91BA2B5D}"/>
                </a:ext>
              </a:extLst>
            </p:cNvPr>
            <p:cNvGrpSpPr/>
            <p:nvPr userDrawn="1"/>
          </p:nvGrpSpPr>
          <p:grpSpPr>
            <a:xfrm>
              <a:off x="838198" y="2361209"/>
              <a:ext cx="1358795" cy="553764"/>
              <a:chOff x="97285" y="2698479"/>
              <a:chExt cx="1358795" cy="553764"/>
            </a:xfrm>
          </p:grpSpPr>
          <p:sp>
            <p:nvSpPr>
              <p:cNvPr id="102" name="矩形 101">
                <a:extLst>
                  <a:ext uri="{FF2B5EF4-FFF2-40B4-BE49-F238E27FC236}">
                    <a16:creationId xmlns:a16="http://schemas.microsoft.com/office/drawing/2014/main" id="{055103AB-6769-458A-B3EA-D0A5ABAE2D4E}"/>
                  </a:ext>
                </a:extLst>
              </p:cNvPr>
              <p:cNvSpPr/>
              <p:nvPr userDrawn="1"/>
            </p:nvSpPr>
            <p:spPr bwMode="auto">
              <a:xfrm>
                <a:off x="97285" y="3125390"/>
                <a:ext cx="1358795" cy="126853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03" name="矩形 102">
                <a:extLst>
                  <a:ext uri="{FF2B5EF4-FFF2-40B4-BE49-F238E27FC236}">
                    <a16:creationId xmlns:a16="http://schemas.microsoft.com/office/drawing/2014/main" id="{A999D827-6ABF-44EC-BD02-45FFE370D20B}"/>
                  </a:ext>
                </a:extLst>
              </p:cNvPr>
              <p:cNvSpPr/>
              <p:nvPr userDrawn="1"/>
            </p:nvSpPr>
            <p:spPr bwMode="auto">
              <a:xfrm>
                <a:off x="355871" y="2913154"/>
                <a:ext cx="229312" cy="21223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矩形 103">
                <a:extLst>
                  <a:ext uri="{FF2B5EF4-FFF2-40B4-BE49-F238E27FC236}">
                    <a16:creationId xmlns:a16="http://schemas.microsoft.com/office/drawing/2014/main" id="{60859FC5-F596-4172-B71B-139B87B8BB54}"/>
                  </a:ext>
                </a:extLst>
              </p:cNvPr>
              <p:cNvSpPr/>
              <p:nvPr userDrawn="1"/>
            </p:nvSpPr>
            <p:spPr bwMode="auto">
              <a:xfrm>
                <a:off x="690081" y="2725314"/>
                <a:ext cx="126853" cy="40007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05" name="矩形 104">
                <a:extLst>
                  <a:ext uri="{FF2B5EF4-FFF2-40B4-BE49-F238E27FC236}">
                    <a16:creationId xmlns:a16="http://schemas.microsoft.com/office/drawing/2014/main" id="{910656CA-92E0-4E37-9B01-D201F3C16B8D}"/>
                  </a:ext>
                </a:extLst>
              </p:cNvPr>
              <p:cNvSpPr/>
              <p:nvPr userDrawn="1"/>
            </p:nvSpPr>
            <p:spPr bwMode="auto">
              <a:xfrm>
                <a:off x="816934" y="2725314"/>
                <a:ext cx="126853" cy="40007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A7483CF0-F3A3-4919-A9CB-8EDEC423FA31}"/>
                  </a:ext>
                </a:extLst>
              </p:cNvPr>
              <p:cNvSpPr/>
              <p:nvPr userDrawn="1"/>
            </p:nvSpPr>
            <p:spPr bwMode="auto">
              <a:xfrm>
                <a:off x="948667" y="2698479"/>
                <a:ext cx="290300" cy="422032"/>
              </a:xfrm>
              <a:custGeom>
                <a:avLst/>
                <a:gdLst>
                  <a:gd name="T0" fmla="*/ 119 w 119"/>
                  <a:gd name="T1" fmla="*/ 150 h 173"/>
                  <a:gd name="T2" fmla="*/ 71 w 119"/>
                  <a:gd name="T3" fmla="*/ 173 h 173"/>
                  <a:gd name="T4" fmla="*/ 0 w 119"/>
                  <a:gd name="T5" fmla="*/ 23 h 173"/>
                  <a:gd name="T6" fmla="*/ 48 w 119"/>
                  <a:gd name="T7" fmla="*/ 0 h 173"/>
                  <a:gd name="T8" fmla="*/ 119 w 119"/>
                  <a:gd name="T9" fmla="*/ 15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" h="173">
                    <a:moveTo>
                      <a:pt x="119" y="150"/>
                    </a:moveTo>
                    <a:lnTo>
                      <a:pt x="71" y="173"/>
                    </a:lnTo>
                    <a:lnTo>
                      <a:pt x="0" y="23"/>
                    </a:lnTo>
                    <a:lnTo>
                      <a:pt x="48" y="0"/>
                    </a:lnTo>
                    <a:lnTo>
                      <a:pt x="119" y="150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32E05EA5-6BC0-4914-9872-8AF5818CC040}"/>
                </a:ext>
              </a:extLst>
            </p:cNvPr>
            <p:cNvGrpSpPr/>
            <p:nvPr userDrawn="1"/>
          </p:nvGrpSpPr>
          <p:grpSpPr>
            <a:xfrm>
              <a:off x="2600039" y="1753175"/>
              <a:ext cx="700134" cy="692816"/>
              <a:chOff x="5125249" y="2743947"/>
              <a:chExt cx="700134" cy="692816"/>
            </a:xfrm>
          </p:grpSpPr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39F263D0-527E-4ED6-BFE5-5B08FDA5604D}"/>
                  </a:ext>
                </a:extLst>
              </p:cNvPr>
              <p:cNvSpPr/>
              <p:nvPr userDrawn="1"/>
            </p:nvSpPr>
            <p:spPr bwMode="auto">
              <a:xfrm>
                <a:off x="5205752" y="2819571"/>
                <a:ext cx="539128" cy="546446"/>
              </a:xfrm>
              <a:custGeom>
                <a:avLst/>
                <a:gdLst>
                  <a:gd name="T0" fmla="*/ 221 w 221"/>
                  <a:gd name="T1" fmla="*/ 48 h 224"/>
                  <a:gd name="T2" fmla="*/ 171 w 221"/>
                  <a:gd name="T3" fmla="*/ 0 h 224"/>
                  <a:gd name="T4" fmla="*/ 0 w 221"/>
                  <a:gd name="T5" fmla="*/ 172 h 224"/>
                  <a:gd name="T6" fmla="*/ 54 w 221"/>
                  <a:gd name="T7" fmla="*/ 224 h 224"/>
                  <a:gd name="T8" fmla="*/ 221 w 221"/>
                  <a:gd name="T9" fmla="*/ 4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224">
                    <a:moveTo>
                      <a:pt x="221" y="48"/>
                    </a:moveTo>
                    <a:lnTo>
                      <a:pt x="171" y="0"/>
                    </a:lnTo>
                    <a:lnTo>
                      <a:pt x="0" y="172"/>
                    </a:lnTo>
                    <a:lnTo>
                      <a:pt x="54" y="224"/>
                    </a:lnTo>
                    <a:lnTo>
                      <a:pt x="221" y="48"/>
                    </a:lnTo>
                    <a:close/>
                  </a:path>
                </a:pathLst>
              </a:cu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椭圆 96">
                <a:extLst>
                  <a:ext uri="{FF2B5EF4-FFF2-40B4-BE49-F238E27FC236}">
                    <a16:creationId xmlns:a16="http://schemas.microsoft.com/office/drawing/2014/main" id="{8309DBAF-0989-4DD0-A23C-D7D9DE64A819}"/>
                  </a:ext>
                </a:extLst>
              </p:cNvPr>
              <p:cNvSpPr/>
              <p:nvPr userDrawn="1"/>
            </p:nvSpPr>
            <p:spPr bwMode="auto">
              <a:xfrm>
                <a:off x="5232587" y="2839087"/>
                <a:ext cx="592796" cy="597676"/>
              </a:xfrm>
              <a:prstGeom prst="ellipse">
                <a:avLst/>
              </a:pr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椭圆 97">
                <a:extLst>
                  <a:ext uri="{FF2B5EF4-FFF2-40B4-BE49-F238E27FC236}">
                    <a16:creationId xmlns:a16="http://schemas.microsoft.com/office/drawing/2014/main" id="{349E5D4B-BFEE-4315-B4F2-BD4FF7175673}"/>
                  </a:ext>
                </a:extLst>
              </p:cNvPr>
              <p:cNvSpPr/>
              <p:nvPr userDrawn="1"/>
            </p:nvSpPr>
            <p:spPr bwMode="auto">
              <a:xfrm>
                <a:off x="5125249" y="2743947"/>
                <a:ext cx="592796" cy="59279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直接连接符 98">
                <a:extLst>
                  <a:ext uri="{FF2B5EF4-FFF2-40B4-BE49-F238E27FC236}">
                    <a16:creationId xmlns:a16="http://schemas.microsoft.com/office/drawing/2014/main" id="{D53E7663-356A-495B-802C-7730122610F7}"/>
                  </a:ext>
                </a:extLst>
              </p:cNvPr>
              <p:cNvSpPr/>
              <p:nvPr userDrawn="1"/>
            </p:nvSpPr>
            <p:spPr bwMode="auto">
              <a:xfrm flipH="1">
                <a:off x="5425305" y="2919590"/>
                <a:ext cx="187841" cy="117095"/>
              </a:xfrm>
              <a:prstGeom prst="line">
                <a:avLst/>
              </a:prstGeom>
              <a:noFill/>
              <a:ln w="9525" cap="flat">
                <a:solidFill>
                  <a:srgbClr val="FE5D5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00" name="椭圆 99">
                <a:extLst>
                  <a:ext uri="{FF2B5EF4-FFF2-40B4-BE49-F238E27FC236}">
                    <a16:creationId xmlns:a16="http://schemas.microsoft.com/office/drawing/2014/main" id="{CFFAC2C5-ECC2-48D4-A847-C55B9F17C9DA}"/>
                  </a:ext>
                </a:extLst>
              </p:cNvPr>
              <p:cNvSpPr/>
              <p:nvPr userDrawn="1"/>
            </p:nvSpPr>
            <p:spPr bwMode="auto">
              <a:xfrm>
                <a:off x="5378955" y="2997654"/>
                <a:ext cx="80504" cy="85383"/>
              </a:xfrm>
              <a:prstGeom prst="ellipse">
                <a:avLst/>
              </a:pr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直接连接符 100">
                <a:extLst>
                  <a:ext uri="{FF2B5EF4-FFF2-40B4-BE49-F238E27FC236}">
                    <a16:creationId xmlns:a16="http://schemas.microsoft.com/office/drawing/2014/main" id="{E9B2B984-1EDD-4DD0-A9C7-D91945948689}"/>
                  </a:ext>
                </a:extLst>
              </p:cNvPr>
              <p:cNvSpPr/>
              <p:nvPr userDrawn="1"/>
            </p:nvSpPr>
            <p:spPr bwMode="auto">
              <a:xfrm>
                <a:off x="5317968" y="2946424"/>
                <a:ext cx="95141" cy="90261"/>
              </a:xfrm>
              <a:prstGeom prst="line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" name="直接连接符 9">
              <a:extLst>
                <a:ext uri="{FF2B5EF4-FFF2-40B4-BE49-F238E27FC236}">
                  <a16:creationId xmlns:a16="http://schemas.microsoft.com/office/drawing/2014/main" id="{C74B912E-877A-4930-A5B9-5549A40663F6}"/>
                </a:ext>
              </a:extLst>
            </p:cNvPr>
            <p:cNvSpPr/>
            <p:nvPr userDrawn="1"/>
          </p:nvSpPr>
          <p:spPr bwMode="auto">
            <a:xfrm>
              <a:off x="2056195" y="5062344"/>
              <a:ext cx="663541" cy="1051420"/>
            </a:xfrm>
            <a:prstGeom prst="line">
              <a:avLst/>
            </a:pr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1" name="直接连接符 10">
              <a:extLst>
                <a:ext uri="{FF2B5EF4-FFF2-40B4-BE49-F238E27FC236}">
                  <a16:creationId xmlns:a16="http://schemas.microsoft.com/office/drawing/2014/main" id="{A1E029DB-6762-4C22-953C-D21EE8B087C3}"/>
                </a:ext>
              </a:extLst>
            </p:cNvPr>
            <p:cNvSpPr/>
            <p:nvPr userDrawn="1"/>
          </p:nvSpPr>
          <p:spPr bwMode="auto">
            <a:xfrm flipH="1">
              <a:off x="2024480" y="5062344"/>
              <a:ext cx="614751" cy="1051420"/>
            </a:xfrm>
            <a:prstGeom prst="line">
              <a:avLst/>
            </a:pr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BCF185C-31B5-4443-9C56-CE1D2775A384}"/>
                </a:ext>
              </a:extLst>
            </p:cNvPr>
            <p:cNvSpPr/>
            <p:nvPr userDrawn="1"/>
          </p:nvSpPr>
          <p:spPr bwMode="auto">
            <a:xfrm>
              <a:off x="1558539" y="3627925"/>
              <a:ext cx="1273413" cy="1617382"/>
            </a:xfrm>
            <a:custGeom>
              <a:avLst/>
              <a:gdLst>
                <a:gd name="T0" fmla="*/ 247 w 251"/>
                <a:gd name="T1" fmla="*/ 300 h 319"/>
                <a:gd name="T2" fmla="*/ 143 w 251"/>
                <a:gd name="T3" fmla="*/ 311 h 319"/>
                <a:gd name="T4" fmla="*/ 4 w 251"/>
                <a:gd name="T5" fmla="*/ 163 h 319"/>
                <a:gd name="T6" fmla="*/ 52 w 251"/>
                <a:gd name="T7" fmla="*/ 0 h 319"/>
                <a:gd name="T8" fmla="*/ 251 w 251"/>
                <a:gd name="T9" fmla="*/ 209 h 319"/>
                <a:gd name="T10" fmla="*/ 247 w 251"/>
                <a:gd name="T11" fmla="*/ 30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319">
                  <a:moveTo>
                    <a:pt x="247" y="300"/>
                  </a:moveTo>
                  <a:cubicBezTo>
                    <a:pt x="247" y="300"/>
                    <a:pt x="226" y="319"/>
                    <a:pt x="143" y="311"/>
                  </a:cubicBezTo>
                  <a:cubicBezTo>
                    <a:pt x="60" y="302"/>
                    <a:pt x="8" y="259"/>
                    <a:pt x="4" y="163"/>
                  </a:cubicBezTo>
                  <a:cubicBezTo>
                    <a:pt x="0" y="67"/>
                    <a:pt x="52" y="0"/>
                    <a:pt x="52" y="0"/>
                  </a:cubicBezTo>
                  <a:cubicBezTo>
                    <a:pt x="251" y="209"/>
                    <a:pt x="251" y="209"/>
                    <a:pt x="251" y="209"/>
                  </a:cubicBezTo>
                  <a:lnTo>
                    <a:pt x="247" y="3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8AD9C4D4-A9AA-450A-9F95-228D9C1B4C55}"/>
                </a:ext>
              </a:extLst>
            </p:cNvPr>
            <p:cNvSpPr/>
            <p:nvPr userDrawn="1"/>
          </p:nvSpPr>
          <p:spPr bwMode="auto">
            <a:xfrm>
              <a:off x="1524386" y="3257122"/>
              <a:ext cx="1166075" cy="624509"/>
            </a:xfrm>
            <a:custGeom>
              <a:avLst/>
              <a:gdLst>
                <a:gd name="T0" fmla="*/ 105 w 230"/>
                <a:gd name="T1" fmla="*/ 16 h 123"/>
                <a:gd name="T2" fmla="*/ 61 w 230"/>
                <a:gd name="T3" fmla="*/ 33 h 123"/>
                <a:gd name="T4" fmla="*/ 19 w 230"/>
                <a:gd name="T5" fmla="*/ 60 h 123"/>
                <a:gd name="T6" fmla="*/ 49 w 230"/>
                <a:gd name="T7" fmla="*/ 123 h 123"/>
                <a:gd name="T8" fmla="*/ 191 w 230"/>
                <a:gd name="T9" fmla="*/ 117 h 123"/>
                <a:gd name="T10" fmla="*/ 184 w 230"/>
                <a:gd name="T11" fmla="*/ 47 h 123"/>
                <a:gd name="T12" fmla="*/ 153 w 230"/>
                <a:gd name="T13" fmla="*/ 22 h 123"/>
                <a:gd name="T14" fmla="*/ 105 w 230"/>
                <a:gd name="T15" fmla="*/ 1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0" h="123">
                  <a:moveTo>
                    <a:pt x="105" y="16"/>
                  </a:moveTo>
                  <a:cubicBezTo>
                    <a:pt x="105" y="16"/>
                    <a:pt x="68" y="0"/>
                    <a:pt x="61" y="33"/>
                  </a:cubicBezTo>
                  <a:cubicBezTo>
                    <a:pt x="61" y="33"/>
                    <a:pt x="33" y="29"/>
                    <a:pt x="19" y="60"/>
                  </a:cubicBezTo>
                  <a:cubicBezTo>
                    <a:pt x="0" y="103"/>
                    <a:pt x="49" y="123"/>
                    <a:pt x="49" y="123"/>
                  </a:cubicBezTo>
                  <a:cubicBezTo>
                    <a:pt x="191" y="117"/>
                    <a:pt x="191" y="117"/>
                    <a:pt x="191" y="117"/>
                  </a:cubicBezTo>
                  <a:cubicBezTo>
                    <a:pt x="191" y="117"/>
                    <a:pt x="230" y="66"/>
                    <a:pt x="184" y="47"/>
                  </a:cubicBezTo>
                  <a:cubicBezTo>
                    <a:pt x="184" y="47"/>
                    <a:pt x="184" y="15"/>
                    <a:pt x="153" y="22"/>
                  </a:cubicBezTo>
                  <a:lnTo>
                    <a:pt x="105" y="16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53B148E-12C8-4EB4-B60E-B064340355F5}"/>
                </a:ext>
              </a:extLst>
            </p:cNvPr>
            <p:cNvSpPr/>
            <p:nvPr userDrawn="1"/>
          </p:nvSpPr>
          <p:spPr bwMode="auto">
            <a:xfrm>
              <a:off x="3334486" y="5635623"/>
              <a:ext cx="263465" cy="324453"/>
            </a:xfrm>
            <a:custGeom>
              <a:avLst/>
              <a:gdLst>
                <a:gd name="T0" fmla="*/ 108 w 108"/>
                <a:gd name="T1" fmla="*/ 133 h 133"/>
                <a:gd name="T2" fmla="*/ 36 w 108"/>
                <a:gd name="T3" fmla="*/ 133 h 133"/>
                <a:gd name="T4" fmla="*/ 0 w 108"/>
                <a:gd name="T5" fmla="*/ 17 h 133"/>
                <a:gd name="T6" fmla="*/ 69 w 108"/>
                <a:gd name="T7" fmla="*/ 0 h 133"/>
                <a:gd name="T8" fmla="*/ 108 w 108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33">
                  <a:moveTo>
                    <a:pt x="108" y="133"/>
                  </a:moveTo>
                  <a:lnTo>
                    <a:pt x="36" y="133"/>
                  </a:lnTo>
                  <a:lnTo>
                    <a:pt x="0" y="17"/>
                  </a:lnTo>
                  <a:lnTo>
                    <a:pt x="69" y="0"/>
                  </a:lnTo>
                  <a:lnTo>
                    <a:pt x="108" y="133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52206466-CF7A-41E7-BED2-FD787DA6C5A1}"/>
                </a:ext>
              </a:extLst>
            </p:cNvPr>
            <p:cNvSpPr/>
            <p:nvPr userDrawn="1"/>
          </p:nvSpPr>
          <p:spPr bwMode="auto">
            <a:xfrm>
              <a:off x="3366200" y="5906407"/>
              <a:ext cx="531808" cy="161006"/>
            </a:xfrm>
            <a:custGeom>
              <a:avLst/>
              <a:gdLst>
                <a:gd name="T0" fmla="*/ 10 w 105"/>
                <a:gd name="T1" fmla="*/ 3 h 32"/>
                <a:gd name="T2" fmla="*/ 45 w 105"/>
                <a:gd name="T3" fmla="*/ 0 h 32"/>
                <a:gd name="T4" fmla="*/ 105 w 105"/>
                <a:gd name="T5" fmla="*/ 32 h 32"/>
                <a:gd name="T6" fmla="*/ 0 w 105"/>
                <a:gd name="T7" fmla="*/ 32 h 32"/>
                <a:gd name="T8" fmla="*/ 5 w 105"/>
                <a:gd name="T9" fmla="*/ 7 h 32"/>
                <a:gd name="T10" fmla="*/ 10 w 105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2">
                  <a:moveTo>
                    <a:pt x="10" y="3"/>
                  </a:moveTo>
                  <a:cubicBezTo>
                    <a:pt x="18" y="6"/>
                    <a:pt x="37" y="13"/>
                    <a:pt x="45" y="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4"/>
                    <a:pt x="7" y="3"/>
                    <a:pt x="10" y="3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00CBEF31-B389-4CDE-B4E6-30F95EA130D8}"/>
                </a:ext>
              </a:extLst>
            </p:cNvPr>
            <p:cNvSpPr/>
            <p:nvPr userDrawn="1"/>
          </p:nvSpPr>
          <p:spPr bwMode="auto">
            <a:xfrm>
              <a:off x="3366200" y="6067413"/>
              <a:ext cx="531808" cy="463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20202BB-15BD-4827-AC9A-738351B5038F}"/>
                </a:ext>
              </a:extLst>
            </p:cNvPr>
            <p:cNvSpPr/>
            <p:nvPr userDrawn="1"/>
          </p:nvSpPr>
          <p:spPr bwMode="auto">
            <a:xfrm>
              <a:off x="2812436" y="4596401"/>
              <a:ext cx="826988" cy="1222184"/>
            </a:xfrm>
            <a:custGeom>
              <a:avLst/>
              <a:gdLst>
                <a:gd name="T0" fmla="*/ 0 w 163"/>
                <a:gd name="T1" fmla="*/ 0 h 241"/>
                <a:gd name="T2" fmla="*/ 66 w 163"/>
                <a:gd name="T3" fmla="*/ 23 h 241"/>
                <a:gd name="T4" fmla="*/ 103 w 163"/>
                <a:gd name="T5" fmla="*/ 60 h 241"/>
                <a:gd name="T6" fmla="*/ 163 w 163"/>
                <a:gd name="T7" fmla="*/ 234 h 241"/>
                <a:gd name="T8" fmla="*/ 100 w 163"/>
                <a:gd name="T9" fmla="*/ 241 h 241"/>
                <a:gd name="T10" fmla="*/ 31 w 163"/>
                <a:gd name="T11" fmla="*/ 71 h 241"/>
                <a:gd name="T12" fmla="*/ 0 w 163"/>
                <a:gd name="T13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241">
                  <a:moveTo>
                    <a:pt x="0" y="0"/>
                  </a:moveTo>
                  <a:cubicBezTo>
                    <a:pt x="66" y="23"/>
                    <a:pt x="66" y="23"/>
                    <a:pt x="66" y="23"/>
                  </a:cubicBezTo>
                  <a:cubicBezTo>
                    <a:pt x="84" y="28"/>
                    <a:pt x="97" y="42"/>
                    <a:pt x="103" y="60"/>
                  </a:cubicBezTo>
                  <a:cubicBezTo>
                    <a:pt x="163" y="234"/>
                    <a:pt x="163" y="234"/>
                    <a:pt x="163" y="234"/>
                  </a:cubicBezTo>
                  <a:cubicBezTo>
                    <a:pt x="100" y="241"/>
                    <a:pt x="100" y="241"/>
                    <a:pt x="100" y="241"/>
                  </a:cubicBezTo>
                  <a:cubicBezTo>
                    <a:pt x="31" y="71"/>
                    <a:pt x="31" y="71"/>
                    <a:pt x="31" y="7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D3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B52BE89-0DB5-427A-AD0F-F1DE95A5DFE4}"/>
                </a:ext>
              </a:extLst>
            </p:cNvPr>
            <p:cNvSpPr/>
            <p:nvPr userDrawn="1"/>
          </p:nvSpPr>
          <p:spPr bwMode="auto">
            <a:xfrm>
              <a:off x="2522136" y="5677095"/>
              <a:ext cx="275663" cy="282981"/>
            </a:xfrm>
            <a:custGeom>
              <a:avLst/>
              <a:gdLst>
                <a:gd name="T0" fmla="*/ 73 w 113"/>
                <a:gd name="T1" fmla="*/ 116 h 116"/>
                <a:gd name="T2" fmla="*/ 0 w 113"/>
                <a:gd name="T3" fmla="*/ 116 h 116"/>
                <a:gd name="T4" fmla="*/ 38 w 113"/>
                <a:gd name="T5" fmla="*/ 0 h 116"/>
                <a:gd name="T6" fmla="*/ 113 w 113"/>
                <a:gd name="T7" fmla="*/ 0 h 116"/>
                <a:gd name="T8" fmla="*/ 73 w 113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6">
                  <a:moveTo>
                    <a:pt x="73" y="116"/>
                  </a:moveTo>
                  <a:lnTo>
                    <a:pt x="0" y="116"/>
                  </a:lnTo>
                  <a:lnTo>
                    <a:pt x="38" y="0"/>
                  </a:lnTo>
                  <a:lnTo>
                    <a:pt x="113" y="0"/>
                  </a:lnTo>
                  <a:lnTo>
                    <a:pt x="73" y="116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4433347-8713-4AEE-AEBC-08A86B3C1E32}"/>
                </a:ext>
              </a:extLst>
            </p:cNvPr>
            <p:cNvSpPr/>
            <p:nvPr userDrawn="1"/>
          </p:nvSpPr>
          <p:spPr bwMode="auto">
            <a:xfrm>
              <a:off x="2483105" y="5906407"/>
              <a:ext cx="531808" cy="161006"/>
            </a:xfrm>
            <a:custGeom>
              <a:avLst/>
              <a:gdLst>
                <a:gd name="T0" fmla="*/ 10 w 105"/>
                <a:gd name="T1" fmla="*/ 3 h 32"/>
                <a:gd name="T2" fmla="*/ 46 w 105"/>
                <a:gd name="T3" fmla="*/ 0 h 32"/>
                <a:gd name="T4" fmla="*/ 105 w 105"/>
                <a:gd name="T5" fmla="*/ 32 h 32"/>
                <a:gd name="T6" fmla="*/ 0 w 105"/>
                <a:gd name="T7" fmla="*/ 32 h 32"/>
                <a:gd name="T8" fmla="*/ 5 w 105"/>
                <a:gd name="T9" fmla="*/ 7 h 32"/>
                <a:gd name="T10" fmla="*/ 10 w 105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2">
                  <a:moveTo>
                    <a:pt x="10" y="3"/>
                  </a:moveTo>
                  <a:cubicBezTo>
                    <a:pt x="18" y="6"/>
                    <a:pt x="37" y="13"/>
                    <a:pt x="46" y="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3"/>
                    <a:pt x="10" y="3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32951D49-D3BD-447B-B579-2A98521C4237}"/>
                </a:ext>
              </a:extLst>
            </p:cNvPr>
            <p:cNvSpPr/>
            <p:nvPr userDrawn="1"/>
          </p:nvSpPr>
          <p:spPr bwMode="auto">
            <a:xfrm>
              <a:off x="2483105" y="6067413"/>
              <a:ext cx="531808" cy="463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6297B16-2BE7-4DC7-AD47-011A3975F2FE}"/>
                </a:ext>
              </a:extLst>
            </p:cNvPr>
            <p:cNvSpPr/>
            <p:nvPr userDrawn="1"/>
          </p:nvSpPr>
          <p:spPr bwMode="auto">
            <a:xfrm>
              <a:off x="1853717" y="4554930"/>
              <a:ext cx="1302687" cy="1253897"/>
            </a:xfrm>
            <a:custGeom>
              <a:avLst/>
              <a:gdLst>
                <a:gd name="T0" fmla="*/ 25 w 257"/>
                <a:gd name="T1" fmla="*/ 0 h 247"/>
                <a:gd name="T2" fmla="*/ 49 w 257"/>
                <a:gd name="T3" fmla="*/ 82 h 247"/>
                <a:gd name="T4" fmla="*/ 178 w 257"/>
                <a:gd name="T5" fmla="*/ 89 h 247"/>
                <a:gd name="T6" fmla="*/ 130 w 257"/>
                <a:gd name="T7" fmla="*/ 241 h 247"/>
                <a:gd name="T8" fmla="*/ 189 w 257"/>
                <a:gd name="T9" fmla="*/ 247 h 247"/>
                <a:gd name="T10" fmla="*/ 249 w 257"/>
                <a:gd name="T11" fmla="*/ 84 h 247"/>
                <a:gd name="T12" fmla="*/ 230 w 257"/>
                <a:gd name="T13" fmla="*/ 32 h 247"/>
                <a:gd name="T14" fmla="*/ 175 w 257"/>
                <a:gd name="T15" fmla="*/ 0 h 247"/>
                <a:gd name="T16" fmla="*/ 25 w 257"/>
                <a:gd name="T17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247">
                  <a:moveTo>
                    <a:pt x="25" y="0"/>
                  </a:moveTo>
                  <a:cubicBezTo>
                    <a:pt x="25" y="0"/>
                    <a:pt x="0" y="62"/>
                    <a:pt x="49" y="82"/>
                  </a:cubicBezTo>
                  <a:cubicBezTo>
                    <a:pt x="49" y="82"/>
                    <a:pt x="86" y="94"/>
                    <a:pt x="178" y="89"/>
                  </a:cubicBezTo>
                  <a:cubicBezTo>
                    <a:pt x="130" y="241"/>
                    <a:pt x="130" y="241"/>
                    <a:pt x="130" y="241"/>
                  </a:cubicBezTo>
                  <a:cubicBezTo>
                    <a:pt x="189" y="247"/>
                    <a:pt x="189" y="247"/>
                    <a:pt x="189" y="247"/>
                  </a:cubicBezTo>
                  <a:cubicBezTo>
                    <a:pt x="249" y="84"/>
                    <a:pt x="249" y="84"/>
                    <a:pt x="249" y="84"/>
                  </a:cubicBezTo>
                  <a:cubicBezTo>
                    <a:pt x="257" y="64"/>
                    <a:pt x="249" y="42"/>
                    <a:pt x="230" y="32"/>
                  </a:cubicBezTo>
                  <a:cubicBezTo>
                    <a:pt x="175" y="0"/>
                    <a:pt x="175" y="0"/>
                    <a:pt x="175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415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535FCD4-0D45-46C9-B1E6-D85F4AF64054}"/>
                </a:ext>
              </a:extLst>
            </p:cNvPr>
            <p:cNvSpPr/>
            <p:nvPr userDrawn="1"/>
          </p:nvSpPr>
          <p:spPr bwMode="auto">
            <a:xfrm>
              <a:off x="2366009" y="3671836"/>
              <a:ext cx="278101" cy="722088"/>
            </a:xfrm>
            <a:custGeom>
              <a:avLst/>
              <a:gdLst>
                <a:gd name="T0" fmla="*/ 6 w 55"/>
                <a:gd name="T1" fmla="*/ 0 h 142"/>
                <a:gd name="T2" fmla="*/ 29 w 55"/>
                <a:gd name="T3" fmla="*/ 24 h 142"/>
                <a:gd name="T4" fmla="*/ 55 w 55"/>
                <a:gd name="T5" fmla="*/ 106 h 142"/>
                <a:gd name="T6" fmla="*/ 8 w 55"/>
                <a:gd name="T7" fmla="*/ 142 h 142"/>
                <a:gd name="T8" fmla="*/ 0 w 55"/>
                <a:gd name="T9" fmla="*/ 71 h 142"/>
                <a:gd name="T10" fmla="*/ 6 w 55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42">
                  <a:moveTo>
                    <a:pt x="6" y="0"/>
                  </a:moveTo>
                  <a:cubicBezTo>
                    <a:pt x="6" y="0"/>
                    <a:pt x="22" y="0"/>
                    <a:pt x="29" y="24"/>
                  </a:cubicBezTo>
                  <a:cubicBezTo>
                    <a:pt x="36" y="48"/>
                    <a:pt x="55" y="106"/>
                    <a:pt x="55" y="106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0" y="71"/>
                    <a:pt x="0" y="71"/>
                    <a:pt x="0" y="7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E235A95-797D-4C42-93FB-1D9BCDEBCC7B}"/>
                </a:ext>
              </a:extLst>
            </p:cNvPr>
            <p:cNvSpPr/>
            <p:nvPr userDrawn="1"/>
          </p:nvSpPr>
          <p:spPr bwMode="auto">
            <a:xfrm>
              <a:off x="3095417" y="4379287"/>
              <a:ext cx="402517" cy="114657"/>
            </a:xfrm>
            <a:custGeom>
              <a:avLst/>
              <a:gdLst>
                <a:gd name="T0" fmla="*/ 4 w 79"/>
                <a:gd name="T1" fmla="*/ 0 h 23"/>
                <a:gd name="T2" fmla="*/ 45 w 79"/>
                <a:gd name="T3" fmla="*/ 0 h 23"/>
                <a:gd name="T4" fmla="*/ 66 w 79"/>
                <a:gd name="T5" fmla="*/ 7 h 23"/>
                <a:gd name="T6" fmla="*/ 79 w 79"/>
                <a:gd name="T7" fmla="*/ 18 h 23"/>
                <a:gd name="T8" fmla="*/ 72 w 79"/>
                <a:gd name="T9" fmla="*/ 23 h 23"/>
                <a:gd name="T10" fmla="*/ 0 w 79"/>
                <a:gd name="T11" fmla="*/ 23 h 23"/>
                <a:gd name="T12" fmla="*/ 4 w 79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3">
                  <a:moveTo>
                    <a:pt x="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53" y="0"/>
                    <a:pt x="60" y="3"/>
                    <a:pt x="66" y="7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A722BEA-061A-4898-BB99-A15562FB00B8}"/>
                </a:ext>
              </a:extLst>
            </p:cNvPr>
            <p:cNvSpPr/>
            <p:nvPr userDrawn="1"/>
          </p:nvSpPr>
          <p:spPr bwMode="auto">
            <a:xfrm>
              <a:off x="2451392" y="4210961"/>
              <a:ext cx="695255" cy="253707"/>
            </a:xfrm>
            <a:custGeom>
              <a:avLst/>
              <a:gdLst>
                <a:gd name="T0" fmla="*/ 79 w 285"/>
                <a:gd name="T1" fmla="*/ 0 h 104"/>
                <a:gd name="T2" fmla="*/ 285 w 285"/>
                <a:gd name="T3" fmla="*/ 46 h 104"/>
                <a:gd name="T4" fmla="*/ 279 w 285"/>
                <a:gd name="T5" fmla="*/ 104 h 104"/>
                <a:gd name="T6" fmla="*/ 6 w 285"/>
                <a:gd name="T7" fmla="*/ 104 h 104"/>
                <a:gd name="T8" fmla="*/ 0 w 285"/>
                <a:gd name="T9" fmla="*/ 8 h 104"/>
                <a:gd name="T10" fmla="*/ 79 w 285"/>
                <a:gd name="T1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104">
                  <a:moveTo>
                    <a:pt x="79" y="0"/>
                  </a:moveTo>
                  <a:lnTo>
                    <a:pt x="285" y="46"/>
                  </a:lnTo>
                  <a:lnTo>
                    <a:pt x="279" y="104"/>
                  </a:lnTo>
                  <a:lnTo>
                    <a:pt x="6" y="104"/>
                  </a:lnTo>
                  <a:lnTo>
                    <a:pt x="0" y="8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2FB38D97-4CB3-4FD9-AB9B-7EA5F0329EAC}"/>
                </a:ext>
              </a:extLst>
            </p:cNvPr>
            <p:cNvSpPr/>
            <p:nvPr userDrawn="1"/>
          </p:nvSpPr>
          <p:spPr bwMode="auto">
            <a:xfrm>
              <a:off x="1863474" y="3605968"/>
              <a:ext cx="639146" cy="887974"/>
            </a:xfrm>
            <a:custGeom>
              <a:avLst/>
              <a:gdLst>
                <a:gd name="T0" fmla="*/ 46 w 126"/>
                <a:gd name="T1" fmla="*/ 0 h 175"/>
                <a:gd name="T2" fmla="*/ 0 w 126"/>
                <a:gd name="T3" fmla="*/ 16 h 175"/>
                <a:gd name="T4" fmla="*/ 20 w 126"/>
                <a:gd name="T5" fmla="*/ 175 h 175"/>
                <a:gd name="T6" fmla="*/ 114 w 126"/>
                <a:gd name="T7" fmla="*/ 175 h 175"/>
                <a:gd name="T8" fmla="*/ 118 w 126"/>
                <a:gd name="T9" fmla="*/ 101 h 175"/>
                <a:gd name="T10" fmla="*/ 125 w 126"/>
                <a:gd name="T11" fmla="*/ 75 h 175"/>
                <a:gd name="T12" fmla="*/ 112 w 126"/>
                <a:gd name="T13" fmla="*/ 25 h 175"/>
                <a:gd name="T14" fmla="*/ 105 w 126"/>
                <a:gd name="T15" fmla="*/ 13 h 175"/>
                <a:gd name="T16" fmla="*/ 69 w 126"/>
                <a:gd name="T17" fmla="*/ 2 h 175"/>
                <a:gd name="T18" fmla="*/ 46 w 126"/>
                <a:gd name="T1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" h="175">
                  <a:moveTo>
                    <a:pt x="46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20" y="175"/>
                    <a:pt x="20" y="175"/>
                    <a:pt x="20" y="175"/>
                  </a:cubicBezTo>
                  <a:cubicBezTo>
                    <a:pt x="114" y="175"/>
                    <a:pt x="114" y="175"/>
                    <a:pt x="114" y="175"/>
                  </a:cubicBezTo>
                  <a:cubicBezTo>
                    <a:pt x="118" y="101"/>
                    <a:pt x="118" y="101"/>
                    <a:pt x="118" y="101"/>
                  </a:cubicBezTo>
                  <a:cubicBezTo>
                    <a:pt x="118" y="101"/>
                    <a:pt x="124" y="94"/>
                    <a:pt x="125" y="75"/>
                  </a:cubicBezTo>
                  <a:cubicBezTo>
                    <a:pt x="126" y="56"/>
                    <a:pt x="122" y="41"/>
                    <a:pt x="112" y="25"/>
                  </a:cubicBezTo>
                  <a:cubicBezTo>
                    <a:pt x="105" y="13"/>
                    <a:pt x="105" y="13"/>
                    <a:pt x="105" y="13"/>
                  </a:cubicBezTo>
                  <a:cubicBezTo>
                    <a:pt x="69" y="2"/>
                    <a:pt x="69" y="2"/>
                    <a:pt x="69" y="2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000BEEEC-39E6-422D-BC29-3794ED4B01EA}"/>
                </a:ext>
              </a:extLst>
            </p:cNvPr>
            <p:cNvSpPr/>
            <p:nvPr userDrawn="1"/>
          </p:nvSpPr>
          <p:spPr bwMode="auto">
            <a:xfrm>
              <a:off x="2441634" y="3840160"/>
              <a:ext cx="97580" cy="465943"/>
            </a:xfrm>
            <a:custGeom>
              <a:avLst/>
              <a:gdLst>
                <a:gd name="T0" fmla="*/ 0 w 19"/>
                <a:gd name="T1" fmla="*/ 0 h 92"/>
                <a:gd name="T2" fmla="*/ 4 w 19"/>
                <a:gd name="T3" fmla="*/ 63 h 92"/>
                <a:gd name="T4" fmla="*/ 3 w 19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2">
                  <a:moveTo>
                    <a:pt x="0" y="0"/>
                  </a:moveTo>
                  <a:cubicBezTo>
                    <a:pt x="0" y="0"/>
                    <a:pt x="19" y="28"/>
                    <a:pt x="4" y="63"/>
                  </a:cubicBezTo>
                  <a:cubicBezTo>
                    <a:pt x="3" y="92"/>
                    <a:pt x="3" y="92"/>
                    <a:pt x="3" y="92"/>
                  </a:cubicBezTo>
                </a:path>
              </a:pathLst>
            </a:cu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3E4EA2CD-215A-41F9-A4F4-F0A617047961}"/>
                </a:ext>
              </a:extLst>
            </p:cNvPr>
            <p:cNvSpPr/>
            <p:nvPr userDrawn="1"/>
          </p:nvSpPr>
          <p:spPr bwMode="auto">
            <a:xfrm>
              <a:off x="1756137" y="3688912"/>
              <a:ext cx="351287" cy="805031"/>
            </a:xfrm>
            <a:custGeom>
              <a:avLst/>
              <a:gdLst>
                <a:gd name="T0" fmla="*/ 21 w 69"/>
                <a:gd name="T1" fmla="*/ 0 h 159"/>
                <a:gd name="T2" fmla="*/ 2 w 69"/>
                <a:gd name="T3" fmla="*/ 38 h 159"/>
                <a:gd name="T4" fmla="*/ 9 w 69"/>
                <a:gd name="T5" fmla="*/ 136 h 159"/>
                <a:gd name="T6" fmla="*/ 34 w 69"/>
                <a:gd name="T7" fmla="*/ 159 h 159"/>
                <a:gd name="T8" fmla="*/ 69 w 69"/>
                <a:gd name="T9" fmla="*/ 159 h 159"/>
                <a:gd name="T10" fmla="*/ 53 w 69"/>
                <a:gd name="T11" fmla="*/ 30 h 159"/>
                <a:gd name="T12" fmla="*/ 21 w 69"/>
                <a:gd name="T1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59">
                  <a:moveTo>
                    <a:pt x="21" y="0"/>
                  </a:moveTo>
                  <a:cubicBezTo>
                    <a:pt x="21" y="0"/>
                    <a:pt x="0" y="2"/>
                    <a:pt x="2" y="38"/>
                  </a:cubicBezTo>
                  <a:cubicBezTo>
                    <a:pt x="3" y="63"/>
                    <a:pt x="7" y="108"/>
                    <a:pt x="9" y="136"/>
                  </a:cubicBezTo>
                  <a:cubicBezTo>
                    <a:pt x="10" y="149"/>
                    <a:pt x="21" y="159"/>
                    <a:pt x="34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53" y="30"/>
                    <a:pt x="53" y="30"/>
                    <a:pt x="53" y="3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7A95CD7-E3F1-463F-87D3-60D391E1AF1A}"/>
                </a:ext>
              </a:extLst>
            </p:cNvPr>
            <p:cNvSpPr/>
            <p:nvPr userDrawn="1"/>
          </p:nvSpPr>
          <p:spPr bwMode="auto">
            <a:xfrm>
              <a:off x="2497742" y="4379287"/>
              <a:ext cx="400076" cy="114657"/>
            </a:xfrm>
            <a:custGeom>
              <a:avLst/>
              <a:gdLst>
                <a:gd name="T0" fmla="*/ 5 w 79"/>
                <a:gd name="T1" fmla="*/ 0 h 23"/>
                <a:gd name="T2" fmla="*/ 46 w 79"/>
                <a:gd name="T3" fmla="*/ 0 h 23"/>
                <a:gd name="T4" fmla="*/ 66 w 79"/>
                <a:gd name="T5" fmla="*/ 7 h 23"/>
                <a:gd name="T6" fmla="*/ 79 w 79"/>
                <a:gd name="T7" fmla="*/ 18 h 23"/>
                <a:gd name="T8" fmla="*/ 72 w 79"/>
                <a:gd name="T9" fmla="*/ 23 h 23"/>
                <a:gd name="T10" fmla="*/ 0 w 79"/>
                <a:gd name="T11" fmla="*/ 23 h 23"/>
                <a:gd name="T12" fmla="*/ 5 w 79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3">
                  <a:moveTo>
                    <a:pt x="5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53" y="0"/>
                    <a:pt x="60" y="3"/>
                    <a:pt x="66" y="7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7BC4A7C-4208-4C61-A601-CC62FCF1A385}"/>
                </a:ext>
              </a:extLst>
            </p:cNvPr>
            <p:cNvSpPr/>
            <p:nvPr userDrawn="1"/>
          </p:nvSpPr>
          <p:spPr bwMode="auto">
            <a:xfrm>
              <a:off x="2000086" y="4230478"/>
              <a:ext cx="548885" cy="263465"/>
            </a:xfrm>
            <a:custGeom>
              <a:avLst/>
              <a:gdLst>
                <a:gd name="T0" fmla="*/ 0 w 225"/>
                <a:gd name="T1" fmla="*/ 0 h 108"/>
                <a:gd name="T2" fmla="*/ 225 w 225"/>
                <a:gd name="T3" fmla="*/ 40 h 108"/>
                <a:gd name="T4" fmla="*/ 219 w 225"/>
                <a:gd name="T5" fmla="*/ 108 h 108"/>
                <a:gd name="T6" fmla="*/ 0 w 225"/>
                <a:gd name="T7" fmla="*/ 108 h 108"/>
                <a:gd name="T8" fmla="*/ 0 w 225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08">
                  <a:moveTo>
                    <a:pt x="0" y="0"/>
                  </a:moveTo>
                  <a:lnTo>
                    <a:pt x="225" y="40"/>
                  </a:lnTo>
                  <a:lnTo>
                    <a:pt x="219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6AF0DD92-15D8-4821-9461-A216D5C618F9}"/>
                </a:ext>
              </a:extLst>
            </p:cNvPr>
            <p:cNvSpPr/>
            <p:nvPr userDrawn="1"/>
          </p:nvSpPr>
          <p:spPr bwMode="auto">
            <a:xfrm>
              <a:off x="2031800" y="3881632"/>
              <a:ext cx="517171" cy="502535"/>
            </a:xfrm>
            <a:custGeom>
              <a:avLst/>
              <a:gdLst>
                <a:gd name="T0" fmla="*/ 0 w 212"/>
                <a:gd name="T1" fmla="*/ 0 h 206"/>
                <a:gd name="T2" fmla="*/ 10 w 212"/>
                <a:gd name="T3" fmla="*/ 147 h 206"/>
                <a:gd name="T4" fmla="*/ 212 w 212"/>
                <a:gd name="T5" fmla="*/ 183 h 206"/>
                <a:gd name="T6" fmla="*/ 210 w 212"/>
                <a:gd name="T7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2" h="206">
                  <a:moveTo>
                    <a:pt x="0" y="0"/>
                  </a:moveTo>
                  <a:lnTo>
                    <a:pt x="10" y="147"/>
                  </a:lnTo>
                  <a:lnTo>
                    <a:pt x="212" y="183"/>
                  </a:lnTo>
                  <a:lnTo>
                    <a:pt x="210" y="206"/>
                  </a:lnTo>
                </a:path>
              </a:pathLst>
            </a:cu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5" name="直接连接符 34">
              <a:extLst>
                <a:ext uri="{FF2B5EF4-FFF2-40B4-BE49-F238E27FC236}">
                  <a16:creationId xmlns:a16="http://schemas.microsoft.com/office/drawing/2014/main" id="{45D6EF2B-128A-4B67-B2E4-84E90AEFB20F}"/>
                </a:ext>
              </a:extLst>
            </p:cNvPr>
            <p:cNvSpPr/>
            <p:nvPr userDrawn="1"/>
          </p:nvSpPr>
          <p:spPr bwMode="auto">
            <a:xfrm flipH="1" flipV="1">
              <a:off x="1965933" y="4230478"/>
              <a:ext cx="109778" cy="14637"/>
            </a:xfrm>
            <a:prstGeom prst="line">
              <a:avLst/>
            </a:pr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972F036-9682-483F-A6B3-9B7DE66F2395}"/>
                </a:ext>
              </a:extLst>
            </p:cNvPr>
            <p:cNvSpPr/>
            <p:nvPr userDrawn="1"/>
          </p:nvSpPr>
          <p:spPr bwMode="auto">
            <a:xfrm>
              <a:off x="2290386" y="3237607"/>
              <a:ext cx="156128" cy="151248"/>
            </a:xfrm>
            <a:custGeom>
              <a:avLst/>
              <a:gdLst>
                <a:gd name="T0" fmla="*/ 1 w 31"/>
                <a:gd name="T1" fmla="*/ 13 h 30"/>
                <a:gd name="T2" fmla="*/ 14 w 31"/>
                <a:gd name="T3" fmla="*/ 29 h 30"/>
                <a:gd name="T4" fmla="*/ 30 w 31"/>
                <a:gd name="T5" fmla="*/ 16 h 30"/>
                <a:gd name="T6" fmla="*/ 17 w 31"/>
                <a:gd name="T7" fmla="*/ 0 h 30"/>
                <a:gd name="T8" fmla="*/ 1 w 31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0">
                  <a:moveTo>
                    <a:pt x="1" y="13"/>
                  </a:moveTo>
                  <a:cubicBezTo>
                    <a:pt x="0" y="21"/>
                    <a:pt x="6" y="28"/>
                    <a:pt x="14" y="29"/>
                  </a:cubicBezTo>
                  <a:cubicBezTo>
                    <a:pt x="22" y="30"/>
                    <a:pt x="29" y="24"/>
                    <a:pt x="30" y="16"/>
                  </a:cubicBezTo>
                  <a:cubicBezTo>
                    <a:pt x="31" y="8"/>
                    <a:pt x="25" y="1"/>
                    <a:pt x="17" y="0"/>
                  </a:cubicBezTo>
                  <a:cubicBezTo>
                    <a:pt x="9" y="0"/>
                    <a:pt x="2" y="5"/>
                    <a:pt x="1" y="13"/>
                  </a:cubicBezTo>
                  <a:close/>
                </a:path>
              </a:pathLst>
            </a:custGeom>
            <a:solidFill>
              <a:srgbClr val="EFB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6543F7C3-BF46-495C-9968-40DA7265CD46}"/>
                </a:ext>
              </a:extLst>
            </p:cNvPr>
            <p:cNvSpPr/>
            <p:nvPr userDrawn="1"/>
          </p:nvSpPr>
          <p:spPr bwMode="auto">
            <a:xfrm>
              <a:off x="2014723" y="2857046"/>
              <a:ext cx="229312" cy="231752"/>
            </a:xfrm>
            <a:prstGeom prst="ellipse">
              <a:avLst/>
            </a:pr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E59D8E3-339A-4B2D-8CC1-3992CE592FC9}"/>
                </a:ext>
              </a:extLst>
            </p:cNvPr>
            <p:cNvSpPr/>
            <p:nvPr userDrawn="1"/>
          </p:nvSpPr>
          <p:spPr bwMode="auto">
            <a:xfrm>
              <a:off x="1943978" y="2952186"/>
              <a:ext cx="463503" cy="441548"/>
            </a:xfrm>
            <a:custGeom>
              <a:avLst/>
              <a:gdLst>
                <a:gd name="T0" fmla="*/ 91 w 91"/>
                <a:gd name="T1" fmla="*/ 44 h 87"/>
                <a:gd name="T2" fmla="*/ 48 w 91"/>
                <a:gd name="T3" fmla="*/ 87 h 87"/>
                <a:gd name="T4" fmla="*/ 0 w 91"/>
                <a:gd name="T5" fmla="*/ 48 h 87"/>
                <a:gd name="T6" fmla="*/ 48 w 91"/>
                <a:gd name="T7" fmla="*/ 0 h 87"/>
                <a:gd name="T8" fmla="*/ 91 w 91"/>
                <a:gd name="T9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87">
                  <a:moveTo>
                    <a:pt x="91" y="44"/>
                  </a:moveTo>
                  <a:cubicBezTo>
                    <a:pt x="91" y="67"/>
                    <a:pt x="71" y="87"/>
                    <a:pt x="48" y="87"/>
                  </a:cubicBezTo>
                  <a:cubicBezTo>
                    <a:pt x="24" y="87"/>
                    <a:pt x="0" y="71"/>
                    <a:pt x="0" y="48"/>
                  </a:cubicBezTo>
                  <a:cubicBezTo>
                    <a:pt x="0" y="24"/>
                    <a:pt x="24" y="0"/>
                    <a:pt x="48" y="0"/>
                  </a:cubicBezTo>
                  <a:cubicBezTo>
                    <a:pt x="71" y="0"/>
                    <a:pt x="91" y="20"/>
                    <a:pt x="91" y="44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3BD9C9CE-291B-4743-A5D7-1EEA3B40C500}"/>
                </a:ext>
              </a:extLst>
            </p:cNvPr>
            <p:cNvSpPr/>
            <p:nvPr userDrawn="1"/>
          </p:nvSpPr>
          <p:spPr bwMode="auto">
            <a:xfrm>
              <a:off x="2056195" y="3408371"/>
              <a:ext cx="202478" cy="336649"/>
            </a:xfrm>
            <a:custGeom>
              <a:avLst/>
              <a:gdLst>
                <a:gd name="T0" fmla="*/ 40 w 40"/>
                <a:gd name="T1" fmla="*/ 19 h 66"/>
                <a:gd name="T2" fmla="*/ 37 w 40"/>
                <a:gd name="T3" fmla="*/ 50 h 66"/>
                <a:gd name="T4" fmla="*/ 17 w 40"/>
                <a:gd name="T5" fmla="*/ 64 h 66"/>
                <a:gd name="T6" fmla="*/ 17 w 40"/>
                <a:gd name="T7" fmla="*/ 64 h 66"/>
                <a:gd name="T8" fmla="*/ 0 w 40"/>
                <a:gd name="T9" fmla="*/ 49 h 66"/>
                <a:gd name="T10" fmla="*/ 8 w 40"/>
                <a:gd name="T11" fmla="*/ 0 h 66"/>
                <a:gd name="T12" fmla="*/ 40 w 40"/>
                <a:gd name="T13" fmla="*/ 1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66">
                  <a:moveTo>
                    <a:pt x="40" y="19"/>
                  </a:moveTo>
                  <a:cubicBezTo>
                    <a:pt x="37" y="50"/>
                    <a:pt x="37" y="50"/>
                    <a:pt x="37" y="50"/>
                  </a:cubicBezTo>
                  <a:cubicBezTo>
                    <a:pt x="35" y="61"/>
                    <a:pt x="28" y="66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8" y="63"/>
                    <a:pt x="0" y="58"/>
                    <a:pt x="0" y="49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0" y="19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6E11BAD-A4F2-4C88-A452-1BEA7E367524}"/>
                </a:ext>
              </a:extLst>
            </p:cNvPr>
            <p:cNvSpPr/>
            <p:nvPr userDrawn="1"/>
          </p:nvSpPr>
          <p:spPr bwMode="auto">
            <a:xfrm>
              <a:off x="2080590" y="3435204"/>
              <a:ext cx="178083" cy="146369"/>
            </a:xfrm>
            <a:custGeom>
              <a:avLst/>
              <a:gdLst>
                <a:gd name="T0" fmla="*/ 33 w 35"/>
                <a:gd name="T1" fmla="*/ 29 h 29"/>
                <a:gd name="T2" fmla="*/ 0 w 35"/>
                <a:gd name="T3" fmla="*/ 0 h 29"/>
                <a:gd name="T4" fmla="*/ 35 w 35"/>
                <a:gd name="T5" fmla="*/ 11 h 29"/>
                <a:gd name="T6" fmla="*/ 33 w 35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9">
                  <a:moveTo>
                    <a:pt x="33" y="29"/>
                  </a:moveTo>
                  <a:cubicBezTo>
                    <a:pt x="12" y="27"/>
                    <a:pt x="0" y="0"/>
                    <a:pt x="0" y="0"/>
                  </a:cubicBezTo>
                  <a:cubicBezTo>
                    <a:pt x="35" y="11"/>
                    <a:pt x="35" y="11"/>
                    <a:pt x="35" y="11"/>
                  </a:cubicBezTo>
                  <a:lnTo>
                    <a:pt x="33" y="29"/>
                  </a:lnTo>
                  <a:close/>
                </a:path>
              </a:pathLst>
            </a:custGeom>
            <a:solidFill>
              <a:srgbClr val="DD9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5E2D779-3883-4B0E-A32B-E44E4FBAF1BE}"/>
                </a:ext>
              </a:extLst>
            </p:cNvPr>
            <p:cNvSpPr/>
            <p:nvPr userDrawn="1"/>
          </p:nvSpPr>
          <p:spPr bwMode="auto">
            <a:xfrm>
              <a:off x="2019602" y="3003416"/>
              <a:ext cx="392759" cy="522051"/>
            </a:xfrm>
            <a:custGeom>
              <a:avLst/>
              <a:gdLst>
                <a:gd name="T0" fmla="*/ 37 w 77"/>
                <a:gd name="T1" fmla="*/ 102 h 103"/>
                <a:gd name="T2" fmla="*/ 37 w 77"/>
                <a:gd name="T3" fmla="*/ 102 h 103"/>
                <a:gd name="T4" fmla="*/ 73 w 77"/>
                <a:gd name="T5" fmla="*/ 75 h 103"/>
                <a:gd name="T6" fmla="*/ 75 w 77"/>
                <a:gd name="T7" fmla="*/ 39 h 103"/>
                <a:gd name="T8" fmla="*/ 45 w 77"/>
                <a:gd name="T9" fmla="*/ 2 h 103"/>
                <a:gd name="T10" fmla="*/ 45 w 77"/>
                <a:gd name="T11" fmla="*/ 2 h 103"/>
                <a:gd name="T12" fmla="*/ 3 w 77"/>
                <a:gd name="T13" fmla="*/ 32 h 103"/>
                <a:gd name="T14" fmla="*/ 1 w 77"/>
                <a:gd name="T15" fmla="*/ 60 h 103"/>
                <a:gd name="T16" fmla="*/ 37 w 77"/>
                <a:gd name="T17" fmla="*/ 10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03">
                  <a:moveTo>
                    <a:pt x="37" y="102"/>
                  </a:moveTo>
                  <a:cubicBezTo>
                    <a:pt x="37" y="102"/>
                    <a:pt x="37" y="102"/>
                    <a:pt x="37" y="102"/>
                  </a:cubicBezTo>
                  <a:cubicBezTo>
                    <a:pt x="55" y="103"/>
                    <a:pt x="71" y="89"/>
                    <a:pt x="73" y="75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7" y="21"/>
                    <a:pt x="64" y="4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26" y="0"/>
                    <a:pt x="5" y="13"/>
                    <a:pt x="3" y="3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82"/>
                    <a:pt x="14" y="100"/>
                    <a:pt x="37" y="102"/>
                  </a:cubicBez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07F3E736-D480-48DC-870E-FFBC82FE52FF}"/>
                </a:ext>
              </a:extLst>
            </p:cNvPr>
            <p:cNvSpPr/>
            <p:nvPr userDrawn="1"/>
          </p:nvSpPr>
          <p:spPr bwMode="auto">
            <a:xfrm>
              <a:off x="2285507" y="3359581"/>
              <a:ext cx="29274" cy="34153"/>
            </a:xfrm>
            <a:custGeom>
              <a:avLst/>
              <a:gdLst>
                <a:gd name="T0" fmla="*/ 8 w 12"/>
                <a:gd name="T1" fmla="*/ 0 h 14"/>
                <a:gd name="T2" fmla="*/ 12 w 12"/>
                <a:gd name="T3" fmla="*/ 14 h 14"/>
                <a:gd name="T4" fmla="*/ 0 w 12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8" y="0"/>
                  </a:moveTo>
                  <a:lnTo>
                    <a:pt x="12" y="14"/>
                  </a:lnTo>
                  <a:lnTo>
                    <a:pt x="0" y="14"/>
                  </a:lnTo>
                </a:path>
              </a:pathLst>
            </a:custGeom>
            <a:noFill/>
            <a:ln w="6350" cap="rnd">
              <a:solidFill>
                <a:srgbClr val="201D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F55FF4A-E7D7-4987-815E-1F16DEEFD70A}"/>
                </a:ext>
              </a:extLst>
            </p:cNvPr>
            <p:cNvSpPr/>
            <p:nvPr userDrawn="1"/>
          </p:nvSpPr>
          <p:spPr bwMode="auto">
            <a:xfrm>
              <a:off x="2151335" y="3215650"/>
              <a:ext cx="97580" cy="51230"/>
            </a:xfrm>
            <a:custGeom>
              <a:avLst/>
              <a:gdLst>
                <a:gd name="T0" fmla="*/ 10 w 19"/>
                <a:gd name="T1" fmla="*/ 1 h 10"/>
                <a:gd name="T2" fmla="*/ 19 w 19"/>
                <a:gd name="T3" fmla="*/ 5 h 10"/>
                <a:gd name="T4" fmla="*/ 11 w 19"/>
                <a:gd name="T5" fmla="*/ 9 h 10"/>
                <a:gd name="T6" fmla="*/ 0 w 19"/>
                <a:gd name="T7" fmla="*/ 6 h 10"/>
                <a:gd name="T8" fmla="*/ 10 w 19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0" y="1"/>
                  </a:moveTo>
                  <a:cubicBezTo>
                    <a:pt x="10" y="1"/>
                    <a:pt x="19" y="0"/>
                    <a:pt x="19" y="5"/>
                  </a:cubicBezTo>
                  <a:cubicBezTo>
                    <a:pt x="19" y="5"/>
                    <a:pt x="19" y="8"/>
                    <a:pt x="11" y="9"/>
                  </a:cubicBezTo>
                  <a:cubicBezTo>
                    <a:pt x="3" y="10"/>
                    <a:pt x="1" y="9"/>
                    <a:pt x="0" y="6"/>
                  </a:cubicBezTo>
                  <a:cubicBezTo>
                    <a:pt x="0" y="3"/>
                    <a:pt x="6" y="1"/>
                    <a:pt x="10" y="1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82B6F707-DCC7-4DB2-940E-A39ABD3F0347}"/>
                </a:ext>
              </a:extLst>
            </p:cNvPr>
            <p:cNvSpPr/>
            <p:nvPr userDrawn="1"/>
          </p:nvSpPr>
          <p:spPr bwMode="auto">
            <a:xfrm>
              <a:off x="2324538" y="3220530"/>
              <a:ext cx="70746" cy="51230"/>
            </a:xfrm>
            <a:custGeom>
              <a:avLst/>
              <a:gdLst>
                <a:gd name="T0" fmla="*/ 7 w 14"/>
                <a:gd name="T1" fmla="*/ 2 h 10"/>
                <a:gd name="T2" fmla="*/ 0 w 14"/>
                <a:gd name="T3" fmla="*/ 5 h 10"/>
                <a:gd name="T4" fmla="*/ 6 w 14"/>
                <a:gd name="T5" fmla="*/ 9 h 10"/>
                <a:gd name="T6" fmla="*/ 14 w 14"/>
                <a:gd name="T7" fmla="*/ 6 h 10"/>
                <a:gd name="T8" fmla="*/ 7 w 14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7" y="2"/>
                  </a:moveTo>
                  <a:cubicBezTo>
                    <a:pt x="7" y="2"/>
                    <a:pt x="1" y="0"/>
                    <a:pt x="0" y="5"/>
                  </a:cubicBezTo>
                  <a:cubicBezTo>
                    <a:pt x="0" y="5"/>
                    <a:pt x="0" y="8"/>
                    <a:pt x="6" y="9"/>
                  </a:cubicBezTo>
                  <a:cubicBezTo>
                    <a:pt x="11" y="10"/>
                    <a:pt x="13" y="9"/>
                    <a:pt x="14" y="6"/>
                  </a:cubicBezTo>
                  <a:cubicBezTo>
                    <a:pt x="14" y="4"/>
                    <a:pt x="10" y="2"/>
                    <a:pt x="7" y="2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847C3D38-88B4-431E-9FB2-628A0D087F80}"/>
                </a:ext>
              </a:extLst>
            </p:cNvPr>
            <p:cNvSpPr/>
            <p:nvPr userDrawn="1"/>
          </p:nvSpPr>
          <p:spPr bwMode="auto">
            <a:xfrm>
              <a:off x="2197685" y="3291275"/>
              <a:ext cx="36593" cy="36593"/>
            </a:xfrm>
            <a:prstGeom prst="ellipse">
              <a:avLst/>
            </a:prstGeom>
            <a:solidFill>
              <a:srgbClr val="201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46805F5E-686C-44B2-83E1-A8A4DF6325C5}"/>
                </a:ext>
              </a:extLst>
            </p:cNvPr>
            <p:cNvSpPr/>
            <p:nvPr userDrawn="1"/>
          </p:nvSpPr>
          <p:spPr bwMode="auto">
            <a:xfrm>
              <a:off x="2339175" y="3303472"/>
              <a:ext cx="26835" cy="29274"/>
            </a:xfrm>
            <a:prstGeom prst="ellipse">
              <a:avLst/>
            </a:prstGeom>
            <a:solidFill>
              <a:srgbClr val="201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DBC831D3-B1A0-46C2-BEB6-058FE9172E83}"/>
                </a:ext>
              </a:extLst>
            </p:cNvPr>
            <p:cNvSpPr/>
            <p:nvPr userDrawn="1"/>
          </p:nvSpPr>
          <p:spPr bwMode="auto">
            <a:xfrm>
              <a:off x="2212322" y="3418128"/>
              <a:ext cx="102459" cy="31714"/>
            </a:xfrm>
            <a:custGeom>
              <a:avLst/>
              <a:gdLst>
                <a:gd name="T0" fmla="*/ 0 w 20"/>
                <a:gd name="T1" fmla="*/ 0 h 6"/>
                <a:gd name="T2" fmla="*/ 19 w 20"/>
                <a:gd name="T3" fmla="*/ 0 h 6"/>
                <a:gd name="T4" fmla="*/ 1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20" y="6"/>
                    <a:pt x="10" y="6"/>
                  </a:cubicBezTo>
                  <a:cubicBezTo>
                    <a:pt x="0" y="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120353A1-EC1D-4EDC-82F4-CDA1000E014C}"/>
                </a:ext>
              </a:extLst>
            </p:cNvPr>
            <p:cNvSpPr/>
            <p:nvPr userDrawn="1"/>
          </p:nvSpPr>
          <p:spPr bwMode="auto">
            <a:xfrm>
              <a:off x="1975691" y="2979021"/>
              <a:ext cx="253707" cy="287859"/>
            </a:xfrm>
            <a:custGeom>
              <a:avLst/>
              <a:gdLst>
                <a:gd name="T0" fmla="*/ 16 w 50"/>
                <a:gd name="T1" fmla="*/ 57 h 57"/>
                <a:gd name="T2" fmla="*/ 50 w 50"/>
                <a:gd name="T3" fmla="*/ 22 h 57"/>
                <a:gd name="T4" fmla="*/ 47 w 50"/>
                <a:gd name="T5" fmla="*/ 5 h 57"/>
                <a:gd name="T6" fmla="*/ 9 w 50"/>
                <a:gd name="T7" fmla="*/ 49 h 57"/>
                <a:gd name="T8" fmla="*/ 16 w 50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7">
                  <a:moveTo>
                    <a:pt x="16" y="57"/>
                  </a:moveTo>
                  <a:cubicBezTo>
                    <a:pt x="16" y="57"/>
                    <a:pt x="42" y="51"/>
                    <a:pt x="50" y="22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0" y="0"/>
                    <a:pt x="9" y="49"/>
                  </a:cubicBezTo>
                  <a:lnTo>
                    <a:pt x="16" y="57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2F8712AE-C828-421B-8968-BB282CF8F6E0}"/>
                </a:ext>
              </a:extLst>
            </p:cNvPr>
            <p:cNvSpPr/>
            <p:nvPr userDrawn="1"/>
          </p:nvSpPr>
          <p:spPr bwMode="auto">
            <a:xfrm>
              <a:off x="2158654" y="2979021"/>
              <a:ext cx="319573" cy="236631"/>
            </a:xfrm>
            <a:custGeom>
              <a:avLst/>
              <a:gdLst>
                <a:gd name="T0" fmla="*/ 0 w 63"/>
                <a:gd name="T1" fmla="*/ 24 h 47"/>
                <a:gd name="T2" fmla="*/ 60 w 63"/>
                <a:gd name="T3" fmla="*/ 47 h 47"/>
                <a:gd name="T4" fmla="*/ 11 w 63"/>
                <a:gd name="T5" fmla="*/ 5 h 47"/>
                <a:gd name="T6" fmla="*/ 0 w 63"/>
                <a:gd name="T7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47">
                  <a:moveTo>
                    <a:pt x="0" y="24"/>
                  </a:moveTo>
                  <a:cubicBezTo>
                    <a:pt x="0" y="24"/>
                    <a:pt x="15" y="43"/>
                    <a:pt x="60" y="47"/>
                  </a:cubicBezTo>
                  <a:cubicBezTo>
                    <a:pt x="60" y="47"/>
                    <a:pt x="63" y="0"/>
                    <a:pt x="11" y="5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F26CE83-8B1B-4D83-8335-4EA0D7630D4B}"/>
                </a:ext>
              </a:extLst>
            </p:cNvPr>
            <p:cNvSpPr/>
            <p:nvPr userDrawn="1"/>
          </p:nvSpPr>
          <p:spPr bwMode="auto">
            <a:xfrm>
              <a:off x="2031800" y="2947307"/>
              <a:ext cx="212236" cy="70746"/>
            </a:xfrm>
            <a:custGeom>
              <a:avLst/>
              <a:gdLst>
                <a:gd name="T0" fmla="*/ 0 w 42"/>
                <a:gd name="T1" fmla="*/ 14 h 14"/>
                <a:gd name="T2" fmla="*/ 21 w 42"/>
                <a:gd name="T3" fmla="*/ 3 h 14"/>
                <a:gd name="T4" fmla="*/ 42 w 4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4">
                  <a:moveTo>
                    <a:pt x="0" y="14"/>
                  </a:moveTo>
                  <a:cubicBezTo>
                    <a:pt x="0" y="14"/>
                    <a:pt x="10" y="5"/>
                    <a:pt x="21" y="3"/>
                  </a:cubicBezTo>
                  <a:cubicBezTo>
                    <a:pt x="34" y="0"/>
                    <a:pt x="42" y="3"/>
                    <a:pt x="42" y="3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43855A5B-B188-4BDA-BEEC-5FF7AC79A712}"/>
                </a:ext>
              </a:extLst>
            </p:cNvPr>
            <p:cNvSpPr/>
            <p:nvPr userDrawn="1"/>
          </p:nvSpPr>
          <p:spPr bwMode="auto">
            <a:xfrm>
              <a:off x="2031800" y="3191256"/>
              <a:ext cx="70746" cy="131733"/>
            </a:xfrm>
            <a:custGeom>
              <a:avLst/>
              <a:gdLst>
                <a:gd name="T0" fmla="*/ 29 w 29"/>
                <a:gd name="T1" fmla="*/ 19 h 54"/>
                <a:gd name="T2" fmla="*/ 6 w 29"/>
                <a:gd name="T3" fmla="*/ 54 h 54"/>
                <a:gd name="T4" fmla="*/ 0 w 29"/>
                <a:gd name="T5" fmla="*/ 0 h 54"/>
                <a:gd name="T6" fmla="*/ 29 w 29"/>
                <a:gd name="T7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19"/>
                  </a:moveTo>
                  <a:lnTo>
                    <a:pt x="6" y="54"/>
                  </a:lnTo>
                  <a:lnTo>
                    <a:pt x="0" y="0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04CFBF9E-B44D-4226-A174-9CC7D0C6431D}"/>
                </a:ext>
              </a:extLst>
            </p:cNvPr>
            <p:cNvSpPr/>
            <p:nvPr userDrawn="1"/>
          </p:nvSpPr>
          <p:spPr bwMode="auto">
            <a:xfrm>
              <a:off x="1924462" y="3215650"/>
              <a:ext cx="151248" cy="153689"/>
            </a:xfrm>
            <a:custGeom>
              <a:avLst/>
              <a:gdLst>
                <a:gd name="T0" fmla="*/ 1 w 30"/>
                <a:gd name="T1" fmla="*/ 14 h 30"/>
                <a:gd name="T2" fmla="*/ 13 w 30"/>
                <a:gd name="T3" fmla="*/ 29 h 30"/>
                <a:gd name="T4" fmla="*/ 29 w 30"/>
                <a:gd name="T5" fmla="*/ 17 h 30"/>
                <a:gd name="T6" fmla="*/ 17 w 30"/>
                <a:gd name="T7" fmla="*/ 1 h 30"/>
                <a:gd name="T8" fmla="*/ 1 w 30"/>
                <a:gd name="T9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1" y="14"/>
                  </a:moveTo>
                  <a:cubicBezTo>
                    <a:pt x="0" y="21"/>
                    <a:pt x="5" y="29"/>
                    <a:pt x="13" y="29"/>
                  </a:cubicBezTo>
                  <a:cubicBezTo>
                    <a:pt x="21" y="30"/>
                    <a:pt x="28" y="25"/>
                    <a:pt x="29" y="17"/>
                  </a:cubicBezTo>
                  <a:cubicBezTo>
                    <a:pt x="30" y="9"/>
                    <a:pt x="24" y="2"/>
                    <a:pt x="17" y="1"/>
                  </a:cubicBezTo>
                  <a:cubicBezTo>
                    <a:pt x="9" y="0"/>
                    <a:pt x="2" y="6"/>
                    <a:pt x="1" y="14"/>
                  </a:cubicBez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91284FA3-CB64-4242-BF3F-007AC7B0C82A}"/>
                </a:ext>
              </a:extLst>
            </p:cNvPr>
            <p:cNvSpPr/>
            <p:nvPr userDrawn="1"/>
          </p:nvSpPr>
          <p:spPr bwMode="auto">
            <a:xfrm>
              <a:off x="1980570" y="3266880"/>
              <a:ext cx="51230" cy="51230"/>
            </a:xfrm>
            <a:custGeom>
              <a:avLst/>
              <a:gdLst>
                <a:gd name="T0" fmla="*/ 8 w 10"/>
                <a:gd name="T1" fmla="*/ 10 h 10"/>
                <a:gd name="T2" fmla="*/ 0 w 10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0">
                  <a:moveTo>
                    <a:pt x="8" y="10"/>
                  </a:moveTo>
                  <a:cubicBezTo>
                    <a:pt x="8" y="10"/>
                    <a:pt x="10" y="0"/>
                    <a:pt x="0" y="0"/>
                  </a:cubicBezTo>
                </a:path>
              </a:pathLst>
            </a:custGeom>
            <a:noFill/>
            <a:ln w="6350" cap="rnd">
              <a:solidFill>
                <a:srgbClr val="201D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60E41C03-C2CF-42D3-9B9C-FCECFAEA53C3}"/>
                </a:ext>
              </a:extLst>
            </p:cNvPr>
            <p:cNvSpPr/>
            <p:nvPr userDrawn="1"/>
          </p:nvSpPr>
          <p:spPr bwMode="auto">
            <a:xfrm>
              <a:off x="1943978" y="3605968"/>
              <a:ext cx="422032" cy="178083"/>
            </a:xfrm>
            <a:custGeom>
              <a:avLst/>
              <a:gdLst>
                <a:gd name="T0" fmla="*/ 0 w 83"/>
                <a:gd name="T1" fmla="*/ 10 h 35"/>
                <a:gd name="T2" fmla="*/ 41 w 83"/>
                <a:gd name="T3" fmla="*/ 32 h 35"/>
                <a:gd name="T4" fmla="*/ 76 w 83"/>
                <a:gd name="T5" fmla="*/ 21 h 35"/>
                <a:gd name="T6" fmla="*/ 83 w 83"/>
                <a:gd name="T7" fmla="*/ 11 h 35"/>
                <a:gd name="T8" fmla="*/ 51 w 83"/>
                <a:gd name="T9" fmla="*/ 0 h 35"/>
                <a:gd name="T10" fmla="*/ 24 w 83"/>
                <a:gd name="T11" fmla="*/ 2 h 35"/>
                <a:gd name="T12" fmla="*/ 0 w 83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35">
                  <a:moveTo>
                    <a:pt x="0" y="10"/>
                  </a:moveTo>
                  <a:cubicBezTo>
                    <a:pt x="0" y="10"/>
                    <a:pt x="13" y="26"/>
                    <a:pt x="41" y="32"/>
                  </a:cubicBezTo>
                  <a:cubicBezTo>
                    <a:pt x="54" y="35"/>
                    <a:pt x="67" y="31"/>
                    <a:pt x="76" y="21"/>
                  </a:cubicBezTo>
                  <a:cubicBezTo>
                    <a:pt x="79" y="18"/>
                    <a:pt x="83" y="14"/>
                    <a:pt x="83" y="11"/>
                  </a:cubicBezTo>
                  <a:cubicBezTo>
                    <a:pt x="83" y="11"/>
                    <a:pt x="58" y="0"/>
                    <a:pt x="51" y="0"/>
                  </a:cubicBezTo>
                  <a:cubicBezTo>
                    <a:pt x="24" y="2"/>
                    <a:pt x="24" y="2"/>
                    <a:pt x="24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12457E16-CB0A-4F21-A99F-87EC70C06925}"/>
                </a:ext>
              </a:extLst>
            </p:cNvPr>
            <p:cNvSpPr/>
            <p:nvPr userDrawn="1"/>
          </p:nvSpPr>
          <p:spPr bwMode="auto">
            <a:xfrm>
              <a:off x="3554041" y="4554930"/>
              <a:ext cx="1009948" cy="1563713"/>
            </a:xfrm>
            <a:custGeom>
              <a:avLst/>
              <a:gdLst>
                <a:gd name="T0" fmla="*/ 0 w 414"/>
                <a:gd name="T1" fmla="*/ 641 h 641"/>
                <a:gd name="T2" fmla="*/ 206 w 414"/>
                <a:gd name="T3" fmla="*/ 0 h 641"/>
                <a:gd name="T4" fmla="*/ 414 w 414"/>
                <a:gd name="T5" fmla="*/ 633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641">
                  <a:moveTo>
                    <a:pt x="0" y="641"/>
                  </a:moveTo>
                  <a:lnTo>
                    <a:pt x="206" y="0"/>
                  </a:lnTo>
                  <a:lnTo>
                    <a:pt x="414" y="633"/>
                  </a:lnTo>
                </a:path>
              </a:pathLst>
            </a:cu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9C395186-C1F4-47DB-865D-696CC8358B60}"/>
                </a:ext>
              </a:extLst>
            </p:cNvPr>
            <p:cNvSpPr/>
            <p:nvPr userDrawn="1"/>
          </p:nvSpPr>
          <p:spPr bwMode="auto">
            <a:xfrm>
              <a:off x="1263360" y="4554930"/>
              <a:ext cx="1009948" cy="1563713"/>
            </a:xfrm>
            <a:custGeom>
              <a:avLst/>
              <a:gdLst>
                <a:gd name="T0" fmla="*/ 0 w 414"/>
                <a:gd name="T1" fmla="*/ 641 h 641"/>
                <a:gd name="T2" fmla="*/ 204 w 414"/>
                <a:gd name="T3" fmla="*/ 0 h 641"/>
                <a:gd name="T4" fmla="*/ 414 w 414"/>
                <a:gd name="T5" fmla="*/ 633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641">
                  <a:moveTo>
                    <a:pt x="0" y="641"/>
                  </a:moveTo>
                  <a:lnTo>
                    <a:pt x="204" y="0"/>
                  </a:lnTo>
                  <a:lnTo>
                    <a:pt x="414" y="633"/>
                  </a:lnTo>
                </a:path>
              </a:pathLst>
            </a:cu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A85EEBC6-615A-443E-9C9E-060837EC30B3}"/>
                </a:ext>
              </a:extLst>
            </p:cNvPr>
            <p:cNvSpPr/>
            <p:nvPr userDrawn="1"/>
          </p:nvSpPr>
          <p:spPr bwMode="auto">
            <a:xfrm>
              <a:off x="1097475" y="4493942"/>
              <a:ext cx="1414904" cy="126853"/>
            </a:xfrm>
            <a:prstGeom prst="rect">
              <a:avLst/>
            </a:prstGeom>
            <a:solidFill>
              <a:srgbClr val="111D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F4925DD7-9514-4187-BD44-7676723905F9}"/>
                </a:ext>
              </a:extLst>
            </p:cNvPr>
            <p:cNvSpPr/>
            <p:nvPr userDrawn="1"/>
          </p:nvSpPr>
          <p:spPr bwMode="auto">
            <a:xfrm>
              <a:off x="2483105" y="4493942"/>
              <a:ext cx="2405335" cy="126853"/>
            </a:xfrm>
            <a:prstGeom prst="rect">
              <a:avLst/>
            </a:prstGeom>
            <a:solidFill>
              <a:srgbClr val="243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EFD650C1-204F-40C4-A179-FE8CD5CF0247}"/>
                </a:ext>
              </a:extLst>
            </p:cNvPr>
            <p:cNvSpPr/>
            <p:nvPr userDrawn="1"/>
          </p:nvSpPr>
          <p:spPr bwMode="auto">
            <a:xfrm>
              <a:off x="2924653" y="4445153"/>
              <a:ext cx="668419" cy="48789"/>
            </a:xfrm>
            <a:custGeom>
              <a:avLst/>
              <a:gdLst>
                <a:gd name="T0" fmla="*/ 5 w 132"/>
                <a:gd name="T1" fmla="*/ 0 h 10"/>
                <a:gd name="T2" fmla="*/ 127 w 132"/>
                <a:gd name="T3" fmla="*/ 0 h 10"/>
                <a:gd name="T4" fmla="*/ 132 w 132"/>
                <a:gd name="T5" fmla="*/ 5 h 10"/>
                <a:gd name="T6" fmla="*/ 132 w 132"/>
                <a:gd name="T7" fmla="*/ 5 h 10"/>
                <a:gd name="T8" fmla="*/ 127 w 132"/>
                <a:gd name="T9" fmla="*/ 10 h 10"/>
                <a:gd name="T10" fmla="*/ 5 w 132"/>
                <a:gd name="T11" fmla="*/ 10 h 10"/>
                <a:gd name="T12" fmla="*/ 0 w 132"/>
                <a:gd name="T13" fmla="*/ 5 h 10"/>
                <a:gd name="T14" fmla="*/ 0 w 132"/>
                <a:gd name="T15" fmla="*/ 5 h 10"/>
                <a:gd name="T16" fmla="*/ 5 w 132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0">
                  <a:moveTo>
                    <a:pt x="5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2" y="2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8"/>
                    <a:pt x="130" y="10"/>
                    <a:pt x="127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5FCDDC6F-B157-4D3D-8DD0-A6292FED9D94}"/>
                </a:ext>
              </a:extLst>
            </p:cNvPr>
            <p:cNvSpPr/>
            <p:nvPr userDrawn="1"/>
          </p:nvSpPr>
          <p:spPr bwMode="auto">
            <a:xfrm>
              <a:off x="2605079" y="4445153"/>
              <a:ext cx="497656" cy="48789"/>
            </a:xfrm>
            <a:custGeom>
              <a:avLst/>
              <a:gdLst>
                <a:gd name="T0" fmla="*/ 5 w 98"/>
                <a:gd name="T1" fmla="*/ 0 h 10"/>
                <a:gd name="T2" fmla="*/ 93 w 98"/>
                <a:gd name="T3" fmla="*/ 0 h 10"/>
                <a:gd name="T4" fmla="*/ 98 w 98"/>
                <a:gd name="T5" fmla="*/ 5 h 10"/>
                <a:gd name="T6" fmla="*/ 98 w 98"/>
                <a:gd name="T7" fmla="*/ 5 h 10"/>
                <a:gd name="T8" fmla="*/ 93 w 98"/>
                <a:gd name="T9" fmla="*/ 10 h 10"/>
                <a:gd name="T10" fmla="*/ 5 w 98"/>
                <a:gd name="T11" fmla="*/ 10 h 10"/>
                <a:gd name="T12" fmla="*/ 0 w 98"/>
                <a:gd name="T13" fmla="*/ 5 h 10"/>
                <a:gd name="T14" fmla="*/ 0 w 98"/>
                <a:gd name="T15" fmla="*/ 5 h 10"/>
                <a:gd name="T16" fmla="*/ 5 w 98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0">
                  <a:moveTo>
                    <a:pt x="5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8" y="2"/>
                    <a:pt x="98" y="5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8" y="8"/>
                    <a:pt x="96" y="10"/>
                    <a:pt x="93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9F8B495B-029D-418C-92DC-79D5DB621313}"/>
                </a:ext>
              </a:extLst>
            </p:cNvPr>
            <p:cNvSpPr/>
            <p:nvPr userDrawn="1"/>
          </p:nvSpPr>
          <p:spPr bwMode="auto">
            <a:xfrm>
              <a:off x="2973443" y="3303472"/>
              <a:ext cx="1422223" cy="953841"/>
            </a:xfrm>
            <a:custGeom>
              <a:avLst/>
              <a:gdLst>
                <a:gd name="T0" fmla="*/ 11 w 280"/>
                <a:gd name="T1" fmla="*/ 188 h 188"/>
                <a:gd name="T2" fmla="*/ 269 w 280"/>
                <a:gd name="T3" fmla="*/ 188 h 188"/>
                <a:gd name="T4" fmla="*/ 280 w 280"/>
                <a:gd name="T5" fmla="*/ 177 h 188"/>
                <a:gd name="T6" fmla="*/ 280 w 280"/>
                <a:gd name="T7" fmla="*/ 12 h 188"/>
                <a:gd name="T8" fmla="*/ 269 w 280"/>
                <a:gd name="T9" fmla="*/ 0 h 188"/>
                <a:gd name="T10" fmla="*/ 11 w 280"/>
                <a:gd name="T11" fmla="*/ 0 h 188"/>
                <a:gd name="T12" fmla="*/ 0 w 280"/>
                <a:gd name="T13" fmla="*/ 12 h 188"/>
                <a:gd name="T14" fmla="*/ 0 w 280"/>
                <a:gd name="T15" fmla="*/ 177 h 188"/>
                <a:gd name="T16" fmla="*/ 11 w 280"/>
                <a:gd name="T1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188">
                  <a:moveTo>
                    <a:pt x="11" y="188"/>
                  </a:moveTo>
                  <a:cubicBezTo>
                    <a:pt x="269" y="188"/>
                    <a:pt x="269" y="188"/>
                    <a:pt x="269" y="188"/>
                  </a:cubicBezTo>
                  <a:cubicBezTo>
                    <a:pt x="275" y="188"/>
                    <a:pt x="280" y="183"/>
                    <a:pt x="280" y="177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6"/>
                    <a:pt x="275" y="0"/>
                    <a:pt x="26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3"/>
                    <a:pt x="5" y="188"/>
                    <a:pt x="11" y="188"/>
                  </a:cubicBezTo>
                  <a:close/>
                </a:path>
              </a:pathLst>
            </a:custGeom>
            <a:solidFill>
              <a:srgbClr val="273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28410E6-0D16-47A5-A1E1-4019C387B8A0}"/>
                </a:ext>
              </a:extLst>
            </p:cNvPr>
            <p:cNvSpPr/>
            <p:nvPr userDrawn="1"/>
          </p:nvSpPr>
          <p:spPr bwMode="auto">
            <a:xfrm>
              <a:off x="3005155" y="3303472"/>
              <a:ext cx="1419782" cy="953841"/>
            </a:xfrm>
            <a:custGeom>
              <a:avLst/>
              <a:gdLst>
                <a:gd name="T0" fmla="*/ 11 w 280"/>
                <a:gd name="T1" fmla="*/ 188 h 188"/>
                <a:gd name="T2" fmla="*/ 269 w 280"/>
                <a:gd name="T3" fmla="*/ 188 h 188"/>
                <a:gd name="T4" fmla="*/ 280 w 280"/>
                <a:gd name="T5" fmla="*/ 177 h 188"/>
                <a:gd name="T6" fmla="*/ 280 w 280"/>
                <a:gd name="T7" fmla="*/ 12 h 188"/>
                <a:gd name="T8" fmla="*/ 269 w 280"/>
                <a:gd name="T9" fmla="*/ 0 h 188"/>
                <a:gd name="T10" fmla="*/ 11 w 280"/>
                <a:gd name="T11" fmla="*/ 0 h 188"/>
                <a:gd name="T12" fmla="*/ 0 w 280"/>
                <a:gd name="T13" fmla="*/ 12 h 188"/>
                <a:gd name="T14" fmla="*/ 0 w 280"/>
                <a:gd name="T15" fmla="*/ 177 h 188"/>
                <a:gd name="T16" fmla="*/ 11 w 280"/>
                <a:gd name="T1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188">
                  <a:moveTo>
                    <a:pt x="11" y="188"/>
                  </a:moveTo>
                  <a:cubicBezTo>
                    <a:pt x="269" y="188"/>
                    <a:pt x="269" y="188"/>
                    <a:pt x="269" y="188"/>
                  </a:cubicBezTo>
                  <a:cubicBezTo>
                    <a:pt x="275" y="188"/>
                    <a:pt x="280" y="183"/>
                    <a:pt x="280" y="177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6"/>
                    <a:pt x="275" y="0"/>
                    <a:pt x="26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3"/>
                    <a:pt x="5" y="188"/>
                    <a:pt x="11" y="188"/>
                  </a:cubicBezTo>
                  <a:close/>
                </a:path>
              </a:pathLst>
            </a:custGeom>
            <a:solidFill>
              <a:srgbClr val="273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AD415CE5-CB6F-4D5A-8787-394248796EB2}"/>
                </a:ext>
              </a:extLst>
            </p:cNvPr>
            <p:cNvSpPr/>
            <p:nvPr userDrawn="1"/>
          </p:nvSpPr>
          <p:spPr bwMode="auto">
            <a:xfrm>
              <a:off x="3283256" y="3749899"/>
              <a:ext cx="492777" cy="507413"/>
            </a:xfrm>
            <a:custGeom>
              <a:avLst/>
              <a:gdLst>
                <a:gd name="T0" fmla="*/ 140 w 202"/>
                <a:gd name="T1" fmla="*/ 0 h 208"/>
                <a:gd name="T2" fmla="*/ 0 w 202"/>
                <a:gd name="T3" fmla="*/ 208 h 208"/>
                <a:gd name="T4" fmla="*/ 202 w 202"/>
                <a:gd name="T5" fmla="*/ 208 h 208"/>
                <a:gd name="T6" fmla="*/ 140 w 202"/>
                <a:gd name="T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" h="208">
                  <a:moveTo>
                    <a:pt x="140" y="0"/>
                  </a:moveTo>
                  <a:lnTo>
                    <a:pt x="0" y="208"/>
                  </a:lnTo>
                  <a:lnTo>
                    <a:pt x="202" y="208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3B8354B6-B978-4A38-929C-F9C41B942BAB}"/>
                </a:ext>
              </a:extLst>
            </p:cNvPr>
            <p:cNvSpPr/>
            <p:nvPr userDrawn="1"/>
          </p:nvSpPr>
          <p:spPr bwMode="auto">
            <a:xfrm>
              <a:off x="3615027" y="3732822"/>
              <a:ext cx="441548" cy="761121"/>
            </a:xfrm>
            <a:custGeom>
              <a:avLst/>
              <a:gdLst>
                <a:gd name="T0" fmla="*/ 50 w 87"/>
                <a:gd name="T1" fmla="*/ 0 h 150"/>
                <a:gd name="T2" fmla="*/ 7 w 87"/>
                <a:gd name="T3" fmla="*/ 0 h 150"/>
                <a:gd name="T4" fmla="*/ 1 w 87"/>
                <a:gd name="T5" fmla="*/ 7 h 150"/>
                <a:gd name="T6" fmla="*/ 29 w 87"/>
                <a:gd name="T7" fmla="*/ 145 h 150"/>
                <a:gd name="T8" fmla="*/ 35 w 87"/>
                <a:gd name="T9" fmla="*/ 150 h 150"/>
                <a:gd name="T10" fmla="*/ 80 w 87"/>
                <a:gd name="T11" fmla="*/ 150 h 150"/>
                <a:gd name="T12" fmla="*/ 86 w 87"/>
                <a:gd name="T13" fmla="*/ 143 h 150"/>
                <a:gd name="T14" fmla="*/ 56 w 87"/>
                <a:gd name="T15" fmla="*/ 5 h 150"/>
                <a:gd name="T16" fmla="*/ 50 w 87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150">
                  <a:moveTo>
                    <a:pt x="5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1" y="7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30" y="148"/>
                    <a:pt x="32" y="150"/>
                    <a:pt x="35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4" y="150"/>
                    <a:pt x="87" y="146"/>
                    <a:pt x="86" y="143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2"/>
                    <a:pt x="53" y="0"/>
                    <a:pt x="50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C0CCADE1-C8EC-4130-A9FC-9594F6A0C38B}"/>
                </a:ext>
              </a:extLst>
            </p:cNvPr>
            <p:cNvSpPr/>
            <p:nvPr userDrawn="1"/>
          </p:nvSpPr>
          <p:spPr bwMode="auto">
            <a:xfrm>
              <a:off x="3522326" y="4445153"/>
              <a:ext cx="431790" cy="48789"/>
            </a:xfrm>
            <a:custGeom>
              <a:avLst/>
              <a:gdLst>
                <a:gd name="T0" fmla="*/ 5 w 85"/>
                <a:gd name="T1" fmla="*/ 0 h 10"/>
                <a:gd name="T2" fmla="*/ 85 w 85"/>
                <a:gd name="T3" fmla="*/ 0 h 10"/>
                <a:gd name="T4" fmla="*/ 85 w 85"/>
                <a:gd name="T5" fmla="*/ 10 h 10"/>
                <a:gd name="T6" fmla="*/ 5 w 85"/>
                <a:gd name="T7" fmla="*/ 10 h 10"/>
                <a:gd name="T8" fmla="*/ 0 w 85"/>
                <a:gd name="T9" fmla="*/ 5 h 10"/>
                <a:gd name="T10" fmla="*/ 0 w 85"/>
                <a:gd name="T11" fmla="*/ 5 h 10"/>
                <a:gd name="T12" fmla="*/ 5 w 8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0">
                  <a:moveTo>
                    <a:pt x="5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grpSp>
          <p:nvGrpSpPr>
            <p:cNvPr id="66" name="组合 65">
              <a:extLst>
                <a:ext uri="{FF2B5EF4-FFF2-40B4-BE49-F238E27FC236}">
                  <a16:creationId xmlns:a16="http://schemas.microsoft.com/office/drawing/2014/main" id="{C6164ABB-6CCA-480F-932A-7A5C7BCC118E}"/>
                </a:ext>
              </a:extLst>
            </p:cNvPr>
            <p:cNvGrpSpPr/>
            <p:nvPr userDrawn="1"/>
          </p:nvGrpSpPr>
          <p:grpSpPr>
            <a:xfrm>
              <a:off x="663550" y="4783617"/>
              <a:ext cx="730324" cy="1353658"/>
              <a:chOff x="1696676" y="5775514"/>
              <a:chExt cx="1246187" cy="2309812"/>
            </a:xfrm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5656FCE2-9FC6-47A0-9FE8-DB1BC2EA5C17}"/>
                  </a:ext>
                </a:extLst>
              </p:cNvPr>
              <p:cNvSpPr/>
              <p:nvPr userDrawn="1"/>
            </p:nvSpPr>
            <p:spPr bwMode="auto">
              <a:xfrm>
                <a:off x="2323738" y="6013639"/>
                <a:ext cx="619125" cy="1087438"/>
              </a:xfrm>
              <a:custGeom>
                <a:avLst/>
                <a:gdLst>
                  <a:gd name="T0" fmla="*/ 14 w 96"/>
                  <a:gd name="T1" fmla="*/ 169 h 169"/>
                  <a:gd name="T2" fmla="*/ 3 w 96"/>
                  <a:gd name="T3" fmla="*/ 120 h 169"/>
                  <a:gd name="T4" fmla="*/ 19 w 96"/>
                  <a:gd name="T5" fmla="*/ 82 h 169"/>
                  <a:gd name="T6" fmla="*/ 32 w 96"/>
                  <a:gd name="T7" fmla="*/ 43 h 169"/>
                  <a:gd name="T8" fmla="*/ 55 w 96"/>
                  <a:gd name="T9" fmla="*/ 14 h 169"/>
                  <a:gd name="T10" fmla="*/ 89 w 96"/>
                  <a:gd name="T11" fmla="*/ 33 h 169"/>
                  <a:gd name="T12" fmla="*/ 55 w 96"/>
                  <a:gd name="T13" fmla="*/ 76 h 169"/>
                  <a:gd name="T14" fmla="*/ 52 w 96"/>
                  <a:gd name="T15" fmla="*/ 126 h 169"/>
                  <a:gd name="T16" fmla="*/ 14 w 96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169">
                    <a:moveTo>
                      <a:pt x="14" y="169"/>
                    </a:moveTo>
                    <a:cubicBezTo>
                      <a:pt x="14" y="169"/>
                      <a:pt x="0" y="140"/>
                      <a:pt x="3" y="120"/>
                    </a:cubicBezTo>
                    <a:cubicBezTo>
                      <a:pt x="6" y="101"/>
                      <a:pt x="23" y="105"/>
                      <a:pt x="19" y="82"/>
                    </a:cubicBezTo>
                    <a:cubicBezTo>
                      <a:pt x="14" y="59"/>
                      <a:pt x="18" y="45"/>
                      <a:pt x="32" y="43"/>
                    </a:cubicBezTo>
                    <a:cubicBezTo>
                      <a:pt x="46" y="41"/>
                      <a:pt x="46" y="29"/>
                      <a:pt x="55" y="14"/>
                    </a:cubicBezTo>
                    <a:cubicBezTo>
                      <a:pt x="64" y="0"/>
                      <a:pt x="96" y="4"/>
                      <a:pt x="89" y="33"/>
                    </a:cubicBezTo>
                    <a:cubicBezTo>
                      <a:pt x="81" y="72"/>
                      <a:pt x="62" y="61"/>
                      <a:pt x="55" y="76"/>
                    </a:cubicBezTo>
                    <a:cubicBezTo>
                      <a:pt x="49" y="92"/>
                      <a:pt x="61" y="110"/>
                      <a:pt x="52" y="126"/>
                    </a:cubicBezTo>
                    <a:cubicBezTo>
                      <a:pt x="43" y="143"/>
                      <a:pt x="25" y="135"/>
                      <a:pt x="14" y="169"/>
                    </a:cubicBezTo>
                    <a:close/>
                  </a:path>
                </a:pathLst>
              </a:custGeom>
              <a:solidFill>
                <a:srgbClr val="F15A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8" name="组合 67">
                <a:extLst>
                  <a:ext uri="{FF2B5EF4-FFF2-40B4-BE49-F238E27FC236}">
                    <a16:creationId xmlns:a16="http://schemas.microsoft.com/office/drawing/2014/main" id="{C1AA2739-0E76-47F7-90C2-3ACDC2D82E72}"/>
                  </a:ext>
                </a:extLst>
              </p:cNvPr>
              <p:cNvGrpSpPr/>
              <p:nvPr userDrawn="1"/>
            </p:nvGrpSpPr>
            <p:grpSpPr>
              <a:xfrm>
                <a:off x="1696676" y="5775514"/>
                <a:ext cx="1136650" cy="2309812"/>
                <a:chOff x="1696676" y="5775514"/>
                <a:chExt cx="1136650" cy="2309812"/>
              </a:xfrm>
            </p:grpSpPr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C4CFACC3-A9FE-4539-9133-17DC23F698C9}"/>
                    </a:ext>
                  </a:extLst>
                </p:cNvPr>
                <p:cNvSpPr/>
                <p:nvPr userDrawn="1"/>
              </p:nvSpPr>
              <p:spPr bwMode="auto">
                <a:xfrm>
                  <a:off x="1696676" y="5775514"/>
                  <a:ext cx="736600" cy="1285875"/>
                </a:xfrm>
                <a:custGeom>
                  <a:avLst/>
                  <a:gdLst>
                    <a:gd name="T0" fmla="*/ 97 w 114"/>
                    <a:gd name="T1" fmla="*/ 200 h 200"/>
                    <a:gd name="T2" fmla="*/ 110 w 114"/>
                    <a:gd name="T3" fmla="*/ 143 h 200"/>
                    <a:gd name="T4" fmla="*/ 91 w 114"/>
                    <a:gd name="T5" fmla="*/ 98 h 200"/>
                    <a:gd name="T6" fmla="*/ 75 w 114"/>
                    <a:gd name="T7" fmla="*/ 51 h 200"/>
                    <a:gd name="T8" fmla="*/ 48 w 114"/>
                    <a:gd name="T9" fmla="*/ 17 h 200"/>
                    <a:gd name="T10" fmla="*/ 7 w 114"/>
                    <a:gd name="T11" fmla="*/ 40 h 200"/>
                    <a:gd name="T12" fmla="*/ 48 w 114"/>
                    <a:gd name="T13" fmla="*/ 91 h 200"/>
                    <a:gd name="T14" fmla="*/ 52 w 114"/>
                    <a:gd name="T15" fmla="*/ 150 h 200"/>
                    <a:gd name="T16" fmla="*/ 97 w 114"/>
                    <a:gd name="T17" fmla="*/ 200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4" h="200">
                      <a:moveTo>
                        <a:pt x="97" y="200"/>
                      </a:moveTo>
                      <a:cubicBezTo>
                        <a:pt x="97" y="200"/>
                        <a:pt x="114" y="166"/>
                        <a:pt x="110" y="143"/>
                      </a:cubicBezTo>
                      <a:cubicBezTo>
                        <a:pt x="106" y="120"/>
                        <a:pt x="86" y="125"/>
                        <a:pt x="91" y="98"/>
                      </a:cubicBezTo>
                      <a:cubicBezTo>
                        <a:pt x="97" y="70"/>
                        <a:pt x="92" y="54"/>
                        <a:pt x="75" y="51"/>
                      </a:cubicBezTo>
                      <a:cubicBezTo>
                        <a:pt x="59" y="49"/>
                        <a:pt x="59" y="35"/>
                        <a:pt x="48" y="17"/>
                      </a:cubicBezTo>
                      <a:cubicBezTo>
                        <a:pt x="38" y="0"/>
                        <a:pt x="0" y="5"/>
                        <a:pt x="7" y="40"/>
                      </a:cubicBezTo>
                      <a:cubicBezTo>
                        <a:pt x="17" y="86"/>
                        <a:pt x="40" y="73"/>
                        <a:pt x="48" y="91"/>
                      </a:cubicBezTo>
                      <a:cubicBezTo>
                        <a:pt x="55" y="109"/>
                        <a:pt x="41" y="131"/>
                        <a:pt x="52" y="150"/>
                      </a:cubicBezTo>
                      <a:cubicBezTo>
                        <a:pt x="63" y="170"/>
                        <a:pt x="84" y="161"/>
                        <a:pt x="97" y="200"/>
                      </a:cubicBezTo>
                      <a:close/>
                    </a:path>
                  </a:pathLst>
                </a:custGeom>
                <a:solidFill>
                  <a:srgbClr val="F4B0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E80E2E37-A99D-4765-8D7B-13920D78A60B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5988239"/>
                  <a:ext cx="452438" cy="1292225"/>
                </a:xfrm>
                <a:custGeom>
                  <a:avLst/>
                  <a:gdLst>
                    <a:gd name="T0" fmla="*/ 67 w 70"/>
                    <a:gd name="T1" fmla="*/ 201 h 201"/>
                    <a:gd name="T2" fmla="*/ 65 w 70"/>
                    <a:gd name="T3" fmla="*/ 201 h 201"/>
                    <a:gd name="T4" fmla="*/ 62 w 70"/>
                    <a:gd name="T5" fmla="*/ 136 h 201"/>
                    <a:gd name="T6" fmla="*/ 0 w 70"/>
                    <a:gd name="T7" fmla="*/ 2 h 201"/>
                    <a:gd name="T8" fmla="*/ 2 w 70"/>
                    <a:gd name="T9" fmla="*/ 0 h 201"/>
                    <a:gd name="T10" fmla="*/ 64 w 70"/>
                    <a:gd name="T11" fmla="*/ 135 h 201"/>
                    <a:gd name="T12" fmla="*/ 67 w 70"/>
                    <a:gd name="T13" fmla="*/ 2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0" h="201">
                      <a:moveTo>
                        <a:pt x="67" y="201"/>
                      </a:moveTo>
                      <a:cubicBezTo>
                        <a:pt x="65" y="201"/>
                        <a:pt x="65" y="201"/>
                        <a:pt x="65" y="201"/>
                      </a:cubicBezTo>
                      <a:cubicBezTo>
                        <a:pt x="65" y="201"/>
                        <a:pt x="68" y="174"/>
                        <a:pt x="62" y="136"/>
                      </a:cubicBezTo>
                      <a:cubicBezTo>
                        <a:pt x="56" y="101"/>
                        <a:pt x="40" y="49"/>
                        <a:pt x="0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42" y="48"/>
                        <a:pt x="58" y="100"/>
                        <a:pt x="64" y="135"/>
                      </a:cubicBezTo>
                      <a:cubicBezTo>
                        <a:pt x="70" y="174"/>
                        <a:pt x="67" y="201"/>
                        <a:pt x="67" y="201"/>
                      </a:cubicBezTo>
                    </a:path>
                  </a:pathLst>
                </a:custGeom>
                <a:solidFill>
                  <a:srgbClr val="1B1B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078A1624-4730-4BFA-9454-0FD78284364A}"/>
                    </a:ext>
                  </a:extLst>
                </p:cNvPr>
                <p:cNvSpPr/>
                <p:nvPr userDrawn="1"/>
              </p:nvSpPr>
              <p:spPr bwMode="auto">
                <a:xfrm>
                  <a:off x="2387238" y="6193026"/>
                  <a:ext cx="381000" cy="1087438"/>
                </a:xfrm>
                <a:custGeom>
                  <a:avLst/>
                  <a:gdLst>
                    <a:gd name="T0" fmla="*/ 3 w 59"/>
                    <a:gd name="T1" fmla="*/ 169 h 169"/>
                    <a:gd name="T2" fmla="*/ 6 w 59"/>
                    <a:gd name="T3" fmla="*/ 114 h 169"/>
                    <a:gd name="T4" fmla="*/ 58 w 59"/>
                    <a:gd name="T5" fmla="*/ 0 h 169"/>
                    <a:gd name="T6" fmla="*/ 59 w 59"/>
                    <a:gd name="T7" fmla="*/ 1 h 169"/>
                    <a:gd name="T8" fmla="*/ 8 w 59"/>
                    <a:gd name="T9" fmla="*/ 114 h 169"/>
                    <a:gd name="T10" fmla="*/ 5 w 59"/>
                    <a:gd name="T11" fmla="*/ 169 h 169"/>
                    <a:gd name="T12" fmla="*/ 3 w 59"/>
                    <a:gd name="T13" fmla="*/ 169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69">
                      <a:moveTo>
                        <a:pt x="3" y="169"/>
                      </a:moveTo>
                      <a:cubicBezTo>
                        <a:pt x="3" y="169"/>
                        <a:pt x="0" y="146"/>
                        <a:pt x="6" y="114"/>
                      </a:cubicBezTo>
                      <a:cubicBezTo>
                        <a:pt x="11" y="84"/>
                        <a:pt x="24" y="40"/>
                        <a:pt x="58" y="0"/>
                      </a:cubicBezTo>
                      <a:cubicBezTo>
                        <a:pt x="59" y="1"/>
                        <a:pt x="59" y="1"/>
                        <a:pt x="59" y="1"/>
                      </a:cubicBezTo>
                      <a:cubicBezTo>
                        <a:pt x="25" y="41"/>
                        <a:pt x="13" y="84"/>
                        <a:pt x="8" y="114"/>
                      </a:cubicBezTo>
                      <a:cubicBezTo>
                        <a:pt x="2" y="146"/>
                        <a:pt x="5" y="169"/>
                        <a:pt x="5" y="169"/>
                      </a:cubicBezTo>
                      <a:cubicBezTo>
                        <a:pt x="3" y="169"/>
                        <a:pt x="3" y="169"/>
                        <a:pt x="3" y="169"/>
                      </a:cubicBezTo>
                    </a:path>
                  </a:pathLst>
                </a:custGeom>
                <a:solidFill>
                  <a:srgbClr val="1B1B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A8086DD2-C9F6-4222-9E49-6323B22015F9}"/>
                    </a:ext>
                  </a:extLst>
                </p:cNvPr>
                <p:cNvSpPr/>
                <p:nvPr userDrawn="1"/>
              </p:nvSpPr>
              <p:spPr bwMode="auto">
                <a:xfrm>
                  <a:off x="1936388" y="7183626"/>
                  <a:ext cx="858838" cy="850900"/>
                </a:xfrm>
                <a:custGeom>
                  <a:avLst/>
                  <a:gdLst>
                    <a:gd name="T0" fmla="*/ 463 w 541"/>
                    <a:gd name="T1" fmla="*/ 536 h 536"/>
                    <a:gd name="T2" fmla="*/ 77 w 541"/>
                    <a:gd name="T3" fmla="*/ 536 h 536"/>
                    <a:gd name="T4" fmla="*/ 0 w 541"/>
                    <a:gd name="T5" fmla="*/ 0 h 536"/>
                    <a:gd name="T6" fmla="*/ 541 w 541"/>
                    <a:gd name="T7" fmla="*/ 0 h 536"/>
                    <a:gd name="T8" fmla="*/ 463 w 541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536">
                      <a:moveTo>
                        <a:pt x="463" y="536"/>
                      </a:moveTo>
                      <a:lnTo>
                        <a:pt x="77" y="536"/>
                      </a:lnTo>
                      <a:lnTo>
                        <a:pt x="0" y="0"/>
                      </a:lnTo>
                      <a:lnTo>
                        <a:pt x="541" y="0"/>
                      </a:lnTo>
                      <a:lnTo>
                        <a:pt x="463" y="536"/>
                      </a:lnTo>
                      <a:close/>
                    </a:path>
                  </a:pathLst>
                </a:cu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DB1DEDF5-3671-48DA-A38E-F92A7574806E}"/>
                    </a:ext>
                  </a:extLst>
                </p:cNvPr>
                <p:cNvSpPr/>
                <p:nvPr userDrawn="1"/>
              </p:nvSpPr>
              <p:spPr bwMode="auto">
                <a:xfrm>
                  <a:off x="1936388" y="7183626"/>
                  <a:ext cx="858838" cy="850900"/>
                </a:xfrm>
                <a:custGeom>
                  <a:avLst/>
                  <a:gdLst>
                    <a:gd name="T0" fmla="*/ 463 w 541"/>
                    <a:gd name="T1" fmla="*/ 536 h 536"/>
                    <a:gd name="T2" fmla="*/ 77 w 541"/>
                    <a:gd name="T3" fmla="*/ 536 h 536"/>
                    <a:gd name="T4" fmla="*/ 0 w 541"/>
                    <a:gd name="T5" fmla="*/ 0 h 536"/>
                    <a:gd name="T6" fmla="*/ 541 w 541"/>
                    <a:gd name="T7" fmla="*/ 0 h 536"/>
                    <a:gd name="T8" fmla="*/ 463 w 541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536">
                      <a:moveTo>
                        <a:pt x="463" y="536"/>
                      </a:moveTo>
                      <a:lnTo>
                        <a:pt x="77" y="536"/>
                      </a:lnTo>
                      <a:lnTo>
                        <a:pt x="0" y="0"/>
                      </a:lnTo>
                      <a:lnTo>
                        <a:pt x="541" y="0"/>
                      </a:lnTo>
                      <a:lnTo>
                        <a:pt x="463" y="536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DA8A7B8B-C00C-41F6-910D-821F54926858}"/>
                    </a:ext>
                  </a:extLst>
                </p:cNvPr>
                <p:cNvSpPr/>
                <p:nvPr userDrawn="1"/>
              </p:nvSpPr>
              <p:spPr bwMode="auto">
                <a:xfrm>
                  <a:off x="1993538" y="7339201"/>
                  <a:ext cx="180975" cy="695325"/>
                </a:xfrm>
                <a:custGeom>
                  <a:avLst/>
                  <a:gdLst>
                    <a:gd name="T0" fmla="*/ 53 w 114"/>
                    <a:gd name="T1" fmla="*/ 0 h 438"/>
                    <a:gd name="T2" fmla="*/ 0 w 114"/>
                    <a:gd name="T3" fmla="*/ 0 h 438"/>
                    <a:gd name="T4" fmla="*/ 66 w 114"/>
                    <a:gd name="T5" fmla="*/ 438 h 438"/>
                    <a:gd name="T6" fmla="*/ 66 w 114"/>
                    <a:gd name="T7" fmla="*/ 438 h 438"/>
                    <a:gd name="T8" fmla="*/ 114 w 114"/>
                    <a:gd name="T9" fmla="*/ 438 h 438"/>
                    <a:gd name="T10" fmla="*/ 53 w 114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438">
                      <a:moveTo>
                        <a:pt x="53" y="0"/>
                      </a:moveTo>
                      <a:lnTo>
                        <a:pt x="0" y="0"/>
                      </a:lnTo>
                      <a:lnTo>
                        <a:pt x="66" y="438"/>
                      </a:lnTo>
                      <a:lnTo>
                        <a:pt x="66" y="438"/>
                      </a:lnTo>
                      <a:lnTo>
                        <a:pt x="114" y="438"/>
                      </a:lnTo>
                      <a:lnTo>
                        <a:pt x="53" y="0"/>
                      </a:lnTo>
                      <a:close/>
                    </a:path>
                  </a:pathLst>
                </a:custGeom>
                <a:solidFill>
                  <a:srgbClr val="E5D9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EDEA46C0-ACA8-4C4A-9337-A351D5AD3049}"/>
                    </a:ext>
                  </a:extLst>
                </p:cNvPr>
                <p:cNvSpPr/>
                <p:nvPr userDrawn="1"/>
              </p:nvSpPr>
              <p:spPr bwMode="auto">
                <a:xfrm>
                  <a:off x="1993538" y="7339201"/>
                  <a:ext cx="180975" cy="695325"/>
                </a:xfrm>
                <a:custGeom>
                  <a:avLst/>
                  <a:gdLst>
                    <a:gd name="T0" fmla="*/ 53 w 114"/>
                    <a:gd name="T1" fmla="*/ 0 h 438"/>
                    <a:gd name="T2" fmla="*/ 0 w 114"/>
                    <a:gd name="T3" fmla="*/ 0 h 438"/>
                    <a:gd name="T4" fmla="*/ 66 w 114"/>
                    <a:gd name="T5" fmla="*/ 438 h 438"/>
                    <a:gd name="T6" fmla="*/ 66 w 114"/>
                    <a:gd name="T7" fmla="*/ 438 h 438"/>
                    <a:gd name="T8" fmla="*/ 114 w 114"/>
                    <a:gd name="T9" fmla="*/ 438 h 438"/>
                    <a:gd name="T10" fmla="*/ 53 w 114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438">
                      <a:moveTo>
                        <a:pt x="53" y="0"/>
                      </a:moveTo>
                      <a:lnTo>
                        <a:pt x="0" y="0"/>
                      </a:lnTo>
                      <a:lnTo>
                        <a:pt x="66" y="438"/>
                      </a:lnTo>
                      <a:lnTo>
                        <a:pt x="66" y="438"/>
                      </a:lnTo>
                      <a:lnTo>
                        <a:pt x="114" y="438"/>
                      </a:lnTo>
                      <a:lnTo>
                        <a:pt x="5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EC6215C0-198B-4D22-9CEC-3F37341F3627}"/>
                    </a:ext>
                  </a:extLst>
                </p:cNvPr>
                <p:cNvSpPr/>
                <p:nvPr userDrawn="1"/>
              </p:nvSpPr>
              <p:spPr bwMode="auto">
                <a:xfrm>
                  <a:off x="2504713" y="7339201"/>
                  <a:ext cx="263525" cy="695325"/>
                </a:xfrm>
                <a:custGeom>
                  <a:avLst/>
                  <a:gdLst>
                    <a:gd name="T0" fmla="*/ 166 w 166"/>
                    <a:gd name="T1" fmla="*/ 0 h 438"/>
                    <a:gd name="T2" fmla="*/ 65 w 166"/>
                    <a:gd name="T3" fmla="*/ 0 h 438"/>
                    <a:gd name="T4" fmla="*/ 0 w 166"/>
                    <a:gd name="T5" fmla="*/ 438 h 438"/>
                    <a:gd name="T6" fmla="*/ 77 w 166"/>
                    <a:gd name="T7" fmla="*/ 438 h 438"/>
                    <a:gd name="T8" fmla="*/ 105 w 166"/>
                    <a:gd name="T9" fmla="*/ 438 h 438"/>
                    <a:gd name="T10" fmla="*/ 166 w 166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6" h="438">
                      <a:moveTo>
                        <a:pt x="166" y="0"/>
                      </a:moveTo>
                      <a:lnTo>
                        <a:pt x="65" y="0"/>
                      </a:lnTo>
                      <a:lnTo>
                        <a:pt x="0" y="438"/>
                      </a:lnTo>
                      <a:lnTo>
                        <a:pt x="77" y="438"/>
                      </a:lnTo>
                      <a:lnTo>
                        <a:pt x="105" y="438"/>
                      </a:lnTo>
                      <a:lnTo>
                        <a:pt x="166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37E031A7-81CB-421D-82B0-02636E605CA4}"/>
                    </a:ext>
                  </a:extLst>
                </p:cNvPr>
                <p:cNvSpPr/>
                <p:nvPr userDrawn="1"/>
              </p:nvSpPr>
              <p:spPr bwMode="auto">
                <a:xfrm>
                  <a:off x="2504713" y="7339201"/>
                  <a:ext cx="263525" cy="695325"/>
                </a:xfrm>
                <a:custGeom>
                  <a:avLst/>
                  <a:gdLst>
                    <a:gd name="T0" fmla="*/ 166 w 166"/>
                    <a:gd name="T1" fmla="*/ 0 h 438"/>
                    <a:gd name="T2" fmla="*/ 65 w 166"/>
                    <a:gd name="T3" fmla="*/ 0 h 438"/>
                    <a:gd name="T4" fmla="*/ 0 w 166"/>
                    <a:gd name="T5" fmla="*/ 438 h 438"/>
                    <a:gd name="T6" fmla="*/ 77 w 166"/>
                    <a:gd name="T7" fmla="*/ 438 h 438"/>
                    <a:gd name="T8" fmla="*/ 105 w 166"/>
                    <a:gd name="T9" fmla="*/ 438 h 438"/>
                    <a:gd name="T10" fmla="*/ 166 w 166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6" h="438">
                      <a:moveTo>
                        <a:pt x="166" y="0"/>
                      </a:moveTo>
                      <a:lnTo>
                        <a:pt x="65" y="0"/>
                      </a:lnTo>
                      <a:lnTo>
                        <a:pt x="0" y="438"/>
                      </a:lnTo>
                      <a:lnTo>
                        <a:pt x="77" y="438"/>
                      </a:lnTo>
                      <a:lnTo>
                        <a:pt x="105" y="438"/>
                      </a:lnTo>
                      <a:lnTo>
                        <a:pt x="16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58FFF345-1686-4074-8749-589541A9CD51}"/>
                    </a:ext>
                  </a:extLst>
                </p:cNvPr>
                <p:cNvSpPr/>
                <p:nvPr userDrawn="1"/>
              </p:nvSpPr>
              <p:spPr bwMode="auto">
                <a:xfrm>
                  <a:off x="2768238" y="7286814"/>
                  <a:ext cx="14288" cy="52388"/>
                </a:xfrm>
                <a:custGeom>
                  <a:avLst/>
                  <a:gdLst>
                    <a:gd name="T0" fmla="*/ 9 w 9"/>
                    <a:gd name="T1" fmla="*/ 0 h 33"/>
                    <a:gd name="T2" fmla="*/ 9 w 9"/>
                    <a:gd name="T3" fmla="*/ 0 h 33"/>
                    <a:gd name="T4" fmla="*/ 0 w 9"/>
                    <a:gd name="T5" fmla="*/ 33 h 33"/>
                    <a:gd name="T6" fmla="*/ 0 w 9"/>
                    <a:gd name="T7" fmla="*/ 33 h 33"/>
                    <a:gd name="T8" fmla="*/ 9 w 9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3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F9B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DB731C57-A72A-4F41-B9F7-3E08FC647E2A}"/>
                    </a:ext>
                  </a:extLst>
                </p:cNvPr>
                <p:cNvSpPr/>
                <p:nvPr userDrawn="1"/>
              </p:nvSpPr>
              <p:spPr bwMode="auto">
                <a:xfrm>
                  <a:off x="2768238" y="7286814"/>
                  <a:ext cx="14288" cy="52388"/>
                </a:xfrm>
                <a:custGeom>
                  <a:avLst/>
                  <a:gdLst>
                    <a:gd name="T0" fmla="*/ 9 w 9"/>
                    <a:gd name="T1" fmla="*/ 0 h 33"/>
                    <a:gd name="T2" fmla="*/ 9 w 9"/>
                    <a:gd name="T3" fmla="*/ 0 h 33"/>
                    <a:gd name="T4" fmla="*/ 0 w 9"/>
                    <a:gd name="T5" fmla="*/ 33 h 33"/>
                    <a:gd name="T6" fmla="*/ 0 w 9"/>
                    <a:gd name="T7" fmla="*/ 33 h 33"/>
                    <a:gd name="T8" fmla="*/ 9 w 9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3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DC3437D7-B81B-4C67-8CB4-1EA7B95ADDCB}"/>
                    </a:ext>
                  </a:extLst>
                </p:cNvPr>
                <p:cNvSpPr/>
                <p:nvPr userDrawn="1"/>
              </p:nvSpPr>
              <p:spPr bwMode="auto">
                <a:xfrm>
                  <a:off x="1949088" y="7286814"/>
                  <a:ext cx="665163" cy="52388"/>
                </a:xfrm>
                <a:custGeom>
                  <a:avLst/>
                  <a:gdLst>
                    <a:gd name="T0" fmla="*/ 24 w 419"/>
                    <a:gd name="T1" fmla="*/ 0 h 33"/>
                    <a:gd name="T2" fmla="*/ 0 w 419"/>
                    <a:gd name="T3" fmla="*/ 0 h 33"/>
                    <a:gd name="T4" fmla="*/ 0 w 419"/>
                    <a:gd name="T5" fmla="*/ 4 h 33"/>
                    <a:gd name="T6" fmla="*/ 4 w 419"/>
                    <a:gd name="T7" fmla="*/ 33 h 33"/>
                    <a:gd name="T8" fmla="*/ 28 w 419"/>
                    <a:gd name="T9" fmla="*/ 33 h 33"/>
                    <a:gd name="T10" fmla="*/ 24 w 419"/>
                    <a:gd name="T11" fmla="*/ 0 h 33"/>
                    <a:gd name="T12" fmla="*/ 419 w 419"/>
                    <a:gd name="T13" fmla="*/ 0 h 33"/>
                    <a:gd name="T14" fmla="*/ 73 w 419"/>
                    <a:gd name="T15" fmla="*/ 0 h 33"/>
                    <a:gd name="T16" fmla="*/ 81 w 419"/>
                    <a:gd name="T17" fmla="*/ 33 h 33"/>
                    <a:gd name="T18" fmla="*/ 415 w 419"/>
                    <a:gd name="T19" fmla="*/ 33 h 33"/>
                    <a:gd name="T20" fmla="*/ 419 w 419"/>
                    <a:gd name="T2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9" h="33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4" y="33"/>
                      </a:lnTo>
                      <a:lnTo>
                        <a:pt x="28" y="33"/>
                      </a:lnTo>
                      <a:lnTo>
                        <a:pt x="24" y="0"/>
                      </a:lnTo>
                      <a:close/>
                      <a:moveTo>
                        <a:pt x="419" y="0"/>
                      </a:moveTo>
                      <a:lnTo>
                        <a:pt x="73" y="0"/>
                      </a:lnTo>
                      <a:lnTo>
                        <a:pt x="81" y="33"/>
                      </a:lnTo>
                      <a:lnTo>
                        <a:pt x="415" y="33"/>
                      </a:lnTo>
                      <a:lnTo>
                        <a:pt x="419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44C154A8-A8FB-4DB8-9B4C-A7F1A2773978}"/>
                    </a:ext>
                  </a:extLst>
                </p:cNvPr>
                <p:cNvSpPr/>
                <p:nvPr userDrawn="1"/>
              </p:nvSpPr>
              <p:spPr bwMode="auto">
                <a:xfrm>
                  <a:off x="1949088" y="7286814"/>
                  <a:ext cx="665163" cy="52388"/>
                </a:xfrm>
                <a:custGeom>
                  <a:avLst/>
                  <a:gdLst>
                    <a:gd name="T0" fmla="*/ 24 w 419"/>
                    <a:gd name="T1" fmla="*/ 0 h 33"/>
                    <a:gd name="T2" fmla="*/ 0 w 419"/>
                    <a:gd name="T3" fmla="*/ 0 h 33"/>
                    <a:gd name="T4" fmla="*/ 0 w 419"/>
                    <a:gd name="T5" fmla="*/ 4 h 33"/>
                    <a:gd name="T6" fmla="*/ 4 w 419"/>
                    <a:gd name="T7" fmla="*/ 33 h 33"/>
                    <a:gd name="T8" fmla="*/ 28 w 419"/>
                    <a:gd name="T9" fmla="*/ 33 h 33"/>
                    <a:gd name="T10" fmla="*/ 24 w 419"/>
                    <a:gd name="T11" fmla="*/ 0 h 33"/>
                    <a:gd name="T12" fmla="*/ 419 w 419"/>
                    <a:gd name="T13" fmla="*/ 0 h 33"/>
                    <a:gd name="T14" fmla="*/ 73 w 419"/>
                    <a:gd name="T15" fmla="*/ 0 h 33"/>
                    <a:gd name="T16" fmla="*/ 81 w 419"/>
                    <a:gd name="T17" fmla="*/ 33 h 33"/>
                    <a:gd name="T18" fmla="*/ 415 w 419"/>
                    <a:gd name="T19" fmla="*/ 33 h 33"/>
                    <a:gd name="T20" fmla="*/ 419 w 419"/>
                    <a:gd name="T2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9" h="33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4" y="33"/>
                      </a:lnTo>
                      <a:lnTo>
                        <a:pt x="28" y="33"/>
                      </a:lnTo>
                      <a:lnTo>
                        <a:pt x="24" y="0"/>
                      </a:lnTo>
                      <a:moveTo>
                        <a:pt x="419" y="0"/>
                      </a:moveTo>
                      <a:lnTo>
                        <a:pt x="73" y="0"/>
                      </a:lnTo>
                      <a:lnTo>
                        <a:pt x="81" y="33"/>
                      </a:lnTo>
                      <a:lnTo>
                        <a:pt x="415" y="33"/>
                      </a:lnTo>
                      <a:lnTo>
                        <a:pt x="41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82204265-C109-4E4A-8FC9-2A9FE6D6BFA1}"/>
                    </a:ext>
                  </a:extLst>
                </p:cNvPr>
                <p:cNvSpPr/>
                <p:nvPr userDrawn="1"/>
              </p:nvSpPr>
              <p:spPr bwMode="auto">
                <a:xfrm>
                  <a:off x="1987188" y="7286814"/>
                  <a:ext cx="90488" cy="52388"/>
                </a:xfrm>
                <a:custGeom>
                  <a:avLst/>
                  <a:gdLst>
                    <a:gd name="T0" fmla="*/ 49 w 57"/>
                    <a:gd name="T1" fmla="*/ 0 h 33"/>
                    <a:gd name="T2" fmla="*/ 0 w 57"/>
                    <a:gd name="T3" fmla="*/ 0 h 33"/>
                    <a:gd name="T4" fmla="*/ 4 w 57"/>
                    <a:gd name="T5" fmla="*/ 33 h 33"/>
                    <a:gd name="T6" fmla="*/ 57 w 57"/>
                    <a:gd name="T7" fmla="*/ 33 h 33"/>
                    <a:gd name="T8" fmla="*/ 49 w 57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33">
                      <a:moveTo>
                        <a:pt x="49" y="0"/>
                      </a:moveTo>
                      <a:lnTo>
                        <a:pt x="0" y="0"/>
                      </a:lnTo>
                      <a:lnTo>
                        <a:pt x="4" y="33"/>
                      </a:lnTo>
                      <a:lnTo>
                        <a:pt x="57" y="33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D1BF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A476253E-3FFB-42F0-9159-451CA831F00F}"/>
                    </a:ext>
                  </a:extLst>
                </p:cNvPr>
                <p:cNvSpPr/>
                <p:nvPr userDrawn="1"/>
              </p:nvSpPr>
              <p:spPr bwMode="auto">
                <a:xfrm>
                  <a:off x="1987188" y="7286814"/>
                  <a:ext cx="90488" cy="52388"/>
                </a:xfrm>
                <a:custGeom>
                  <a:avLst/>
                  <a:gdLst>
                    <a:gd name="T0" fmla="*/ 49 w 57"/>
                    <a:gd name="T1" fmla="*/ 0 h 33"/>
                    <a:gd name="T2" fmla="*/ 0 w 57"/>
                    <a:gd name="T3" fmla="*/ 0 h 33"/>
                    <a:gd name="T4" fmla="*/ 4 w 57"/>
                    <a:gd name="T5" fmla="*/ 33 h 33"/>
                    <a:gd name="T6" fmla="*/ 57 w 57"/>
                    <a:gd name="T7" fmla="*/ 33 h 33"/>
                    <a:gd name="T8" fmla="*/ 49 w 57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33">
                      <a:moveTo>
                        <a:pt x="49" y="0"/>
                      </a:moveTo>
                      <a:lnTo>
                        <a:pt x="0" y="0"/>
                      </a:lnTo>
                      <a:lnTo>
                        <a:pt x="4" y="33"/>
                      </a:lnTo>
                      <a:lnTo>
                        <a:pt x="57" y="33"/>
                      </a:lnTo>
                      <a:lnTo>
                        <a:pt x="4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751A345C-0BC6-4ECB-BCD6-F151B9D8B6A9}"/>
                    </a:ext>
                  </a:extLst>
                </p:cNvPr>
                <p:cNvSpPr/>
                <p:nvPr userDrawn="1"/>
              </p:nvSpPr>
              <p:spPr bwMode="auto">
                <a:xfrm>
                  <a:off x="2607901" y="7286814"/>
                  <a:ext cx="174625" cy="52388"/>
                </a:xfrm>
                <a:custGeom>
                  <a:avLst/>
                  <a:gdLst>
                    <a:gd name="T0" fmla="*/ 110 w 110"/>
                    <a:gd name="T1" fmla="*/ 0 h 33"/>
                    <a:gd name="T2" fmla="*/ 4 w 110"/>
                    <a:gd name="T3" fmla="*/ 0 h 33"/>
                    <a:gd name="T4" fmla="*/ 0 w 110"/>
                    <a:gd name="T5" fmla="*/ 33 h 33"/>
                    <a:gd name="T6" fmla="*/ 101 w 110"/>
                    <a:gd name="T7" fmla="*/ 33 h 33"/>
                    <a:gd name="T8" fmla="*/ 110 w 110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33">
                      <a:moveTo>
                        <a:pt x="110" y="0"/>
                      </a:moveTo>
                      <a:lnTo>
                        <a:pt x="4" y="0"/>
                      </a:lnTo>
                      <a:lnTo>
                        <a:pt x="0" y="33"/>
                      </a:lnTo>
                      <a:lnTo>
                        <a:pt x="101" y="33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B096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DF325769-E4D6-4CC4-9353-E8BBF9736018}"/>
                    </a:ext>
                  </a:extLst>
                </p:cNvPr>
                <p:cNvSpPr/>
                <p:nvPr userDrawn="1"/>
              </p:nvSpPr>
              <p:spPr bwMode="auto">
                <a:xfrm>
                  <a:off x="2607901" y="7286814"/>
                  <a:ext cx="174625" cy="52388"/>
                </a:xfrm>
                <a:custGeom>
                  <a:avLst/>
                  <a:gdLst>
                    <a:gd name="T0" fmla="*/ 110 w 110"/>
                    <a:gd name="T1" fmla="*/ 0 h 33"/>
                    <a:gd name="T2" fmla="*/ 4 w 110"/>
                    <a:gd name="T3" fmla="*/ 0 h 33"/>
                    <a:gd name="T4" fmla="*/ 0 w 110"/>
                    <a:gd name="T5" fmla="*/ 33 h 33"/>
                    <a:gd name="T6" fmla="*/ 101 w 110"/>
                    <a:gd name="T7" fmla="*/ 33 h 33"/>
                    <a:gd name="T8" fmla="*/ 110 w 110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33">
                      <a:moveTo>
                        <a:pt x="110" y="0"/>
                      </a:moveTo>
                      <a:lnTo>
                        <a:pt x="4" y="0"/>
                      </a:lnTo>
                      <a:lnTo>
                        <a:pt x="0" y="33"/>
                      </a:lnTo>
                      <a:lnTo>
                        <a:pt x="101" y="33"/>
                      </a:lnTo>
                      <a:lnTo>
                        <a:pt x="11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6" name="矩形 85">
                  <a:extLst>
                    <a:ext uri="{FF2B5EF4-FFF2-40B4-BE49-F238E27FC236}">
                      <a16:creationId xmlns:a16="http://schemas.microsoft.com/office/drawing/2014/main" id="{8C42A7B1-0157-4E2D-AC6D-C4A6A128379F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50800"/>
                </a:xfrm>
                <a:prstGeom prst="rect">
                  <a:avLst/>
                </a:pr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7" name="矩形 86">
                  <a:extLst>
                    <a:ext uri="{FF2B5EF4-FFF2-40B4-BE49-F238E27FC236}">
                      <a16:creationId xmlns:a16="http://schemas.microsoft.com/office/drawing/2014/main" id="{22910B6A-73E4-4599-B0C8-F3F21664AEF6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50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80D5994D-249A-46FA-8190-63BD7C700D26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25400"/>
                </a:xfrm>
                <a:custGeom>
                  <a:avLst/>
                  <a:gdLst>
                    <a:gd name="T0" fmla="*/ 333 w 333"/>
                    <a:gd name="T1" fmla="*/ 0 h 16"/>
                    <a:gd name="T2" fmla="*/ 48 w 333"/>
                    <a:gd name="T3" fmla="*/ 0 h 16"/>
                    <a:gd name="T4" fmla="*/ 0 w 333"/>
                    <a:gd name="T5" fmla="*/ 0 h 16"/>
                    <a:gd name="T6" fmla="*/ 0 w 333"/>
                    <a:gd name="T7" fmla="*/ 16 h 16"/>
                    <a:gd name="T8" fmla="*/ 333 w 333"/>
                    <a:gd name="T9" fmla="*/ 16 h 16"/>
                    <a:gd name="T10" fmla="*/ 333 w 333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3" h="16">
                      <a:moveTo>
                        <a:pt x="333" y="0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333" y="16"/>
                      </a:lnTo>
                      <a:lnTo>
                        <a:pt x="333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799339E0-FA2B-484F-96C8-C286A1B479E0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25400"/>
                </a:xfrm>
                <a:custGeom>
                  <a:avLst/>
                  <a:gdLst>
                    <a:gd name="T0" fmla="*/ 333 w 333"/>
                    <a:gd name="T1" fmla="*/ 0 h 16"/>
                    <a:gd name="T2" fmla="*/ 48 w 333"/>
                    <a:gd name="T3" fmla="*/ 0 h 16"/>
                    <a:gd name="T4" fmla="*/ 0 w 333"/>
                    <a:gd name="T5" fmla="*/ 0 h 16"/>
                    <a:gd name="T6" fmla="*/ 0 w 333"/>
                    <a:gd name="T7" fmla="*/ 16 h 16"/>
                    <a:gd name="T8" fmla="*/ 333 w 333"/>
                    <a:gd name="T9" fmla="*/ 16 h 16"/>
                    <a:gd name="T10" fmla="*/ 333 w 333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3" h="16">
                      <a:moveTo>
                        <a:pt x="333" y="0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333" y="16"/>
                      </a:lnTo>
                      <a:lnTo>
                        <a:pt x="33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0" name="矩形 89">
                  <a:extLst>
                    <a:ext uri="{FF2B5EF4-FFF2-40B4-BE49-F238E27FC236}">
                      <a16:creationId xmlns:a16="http://schemas.microsoft.com/office/drawing/2014/main" id="{816D96DB-6ED1-47C5-A337-257D060A1179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7164576"/>
                  <a:ext cx="936625" cy="122238"/>
                </a:xfrm>
                <a:prstGeom prst="rect">
                  <a:avLst/>
                </a:pr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1" name="矩形 90">
                  <a:extLst>
                    <a:ext uri="{FF2B5EF4-FFF2-40B4-BE49-F238E27FC236}">
                      <a16:creationId xmlns:a16="http://schemas.microsoft.com/office/drawing/2014/main" id="{D3542A2D-6B5F-466A-9B51-222DC0C10EAE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7164576"/>
                  <a:ext cx="936625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2" name="矩形 91">
                  <a:extLst>
                    <a:ext uri="{FF2B5EF4-FFF2-40B4-BE49-F238E27FC236}">
                      <a16:creationId xmlns:a16="http://schemas.microsoft.com/office/drawing/2014/main" id="{E5FB9932-A73E-4B4C-9A34-071922CB2260}"/>
                    </a:ext>
                  </a:extLst>
                </p:cNvPr>
                <p:cNvSpPr/>
                <p:nvPr userDrawn="1"/>
              </p:nvSpPr>
              <p:spPr bwMode="auto">
                <a:xfrm>
                  <a:off x="2658701" y="7164576"/>
                  <a:ext cx="174625" cy="122238"/>
                </a:xfrm>
                <a:prstGeom prst="rect">
                  <a:avLst/>
                </a:pr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3" name="矩形 92">
                  <a:extLst>
                    <a:ext uri="{FF2B5EF4-FFF2-40B4-BE49-F238E27FC236}">
                      <a16:creationId xmlns:a16="http://schemas.microsoft.com/office/drawing/2014/main" id="{1829D932-3F06-4BDB-BC7F-D556C224068C}"/>
                    </a:ext>
                  </a:extLst>
                </p:cNvPr>
                <p:cNvSpPr/>
                <p:nvPr userDrawn="1"/>
              </p:nvSpPr>
              <p:spPr bwMode="auto">
                <a:xfrm>
                  <a:off x="2658701" y="7164576"/>
                  <a:ext cx="174625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4" name="矩形 93">
                  <a:extLst>
                    <a:ext uri="{FF2B5EF4-FFF2-40B4-BE49-F238E27FC236}">
                      <a16:creationId xmlns:a16="http://schemas.microsoft.com/office/drawing/2014/main" id="{0F4D866C-2799-4498-9F82-5F2426F39736}"/>
                    </a:ext>
                  </a:extLst>
                </p:cNvPr>
                <p:cNvSpPr/>
                <p:nvPr userDrawn="1"/>
              </p:nvSpPr>
              <p:spPr bwMode="auto">
                <a:xfrm>
                  <a:off x="1917338" y="7164576"/>
                  <a:ext cx="115888" cy="122238"/>
                </a:xfrm>
                <a:prstGeom prst="rect">
                  <a:avLst/>
                </a:prstGeom>
                <a:solidFill>
                  <a:srgbClr val="E5D9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5" name="矩形 94">
                  <a:extLst>
                    <a:ext uri="{FF2B5EF4-FFF2-40B4-BE49-F238E27FC236}">
                      <a16:creationId xmlns:a16="http://schemas.microsoft.com/office/drawing/2014/main" id="{25ACDA7C-AA8D-403F-8CFB-E72703729C88}"/>
                    </a:ext>
                  </a:extLst>
                </p:cNvPr>
                <p:cNvSpPr/>
                <p:nvPr userDrawn="1"/>
              </p:nvSpPr>
              <p:spPr bwMode="auto">
                <a:xfrm>
                  <a:off x="1917338" y="7164576"/>
                  <a:ext cx="115888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72EF45A2-6A72-4E88-8523-AEE73AED1AD6}"/>
              </a:ext>
            </a:extLst>
          </p:cNvPr>
          <p:cNvCxnSpPr>
            <a:cxnSpLocks/>
          </p:cNvCxnSpPr>
          <p:nvPr userDrawn="1"/>
        </p:nvCxnSpPr>
        <p:spPr>
          <a:xfrm>
            <a:off x="694051" y="4868876"/>
            <a:ext cx="10803898" cy="0"/>
          </a:xfrm>
          <a:prstGeom prst="line">
            <a:avLst/>
          </a:prstGeom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矩形 109">
            <a:extLst>
              <a:ext uri="{FF2B5EF4-FFF2-40B4-BE49-F238E27FC236}">
                <a16:creationId xmlns:a16="http://schemas.microsoft.com/office/drawing/2014/main" id="{A5A6D62A-C7B8-4133-8F77-2602C61E4D20}"/>
              </a:ext>
            </a:extLst>
          </p:cNvPr>
          <p:cNvSpPr/>
          <p:nvPr userDrawn="1"/>
        </p:nvSpPr>
        <p:spPr bwMode="auto">
          <a:xfrm flipH="1"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6000">
                <a:schemeClr val="accent1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>
              <a:solidFill>
                <a:schemeClr val="tx1"/>
              </a:solidFill>
            </a:endParaRPr>
          </a:p>
        </p:txBody>
      </p:sp>
      <p:grpSp>
        <p:nvGrpSpPr>
          <p:cNvPr id="111" name="组合 110">
            <a:extLst>
              <a:ext uri="{FF2B5EF4-FFF2-40B4-BE49-F238E27FC236}">
                <a16:creationId xmlns:a16="http://schemas.microsoft.com/office/drawing/2014/main" id="{9E5F8540-DA44-4FE7-AA4D-69E5FA21655B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112" name="组合 111">
              <a:extLst>
                <a:ext uri="{FF2B5EF4-FFF2-40B4-BE49-F238E27FC236}">
                  <a16:creationId xmlns:a16="http://schemas.microsoft.com/office/drawing/2014/main" id="{76C16A90-A7ED-4B38-A8EB-CB50EB29BCBD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127" name="直接连接符 126">
                <a:extLst>
                  <a:ext uri="{FF2B5EF4-FFF2-40B4-BE49-F238E27FC236}">
                    <a16:creationId xmlns:a16="http://schemas.microsoft.com/office/drawing/2014/main" id="{0DE10F4D-E4F6-4DAE-974D-D8B4E9637AC5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直接连接符 127">
                <a:extLst>
                  <a:ext uri="{FF2B5EF4-FFF2-40B4-BE49-F238E27FC236}">
                    <a16:creationId xmlns:a16="http://schemas.microsoft.com/office/drawing/2014/main" id="{1158E6EF-CF5A-4814-B68F-45FDBE85C313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直接连接符 128">
                <a:extLst>
                  <a:ext uri="{FF2B5EF4-FFF2-40B4-BE49-F238E27FC236}">
                    <a16:creationId xmlns:a16="http://schemas.microsoft.com/office/drawing/2014/main" id="{FE192BC9-9BAE-4616-B132-69D00D0EF4F7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>
                <a:extLst>
                  <a:ext uri="{FF2B5EF4-FFF2-40B4-BE49-F238E27FC236}">
                    <a16:creationId xmlns:a16="http://schemas.microsoft.com/office/drawing/2014/main" id="{335D0820-2FCC-4436-A388-90915B38BBA5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直接连接符 130">
                <a:extLst>
                  <a:ext uri="{FF2B5EF4-FFF2-40B4-BE49-F238E27FC236}">
                    <a16:creationId xmlns:a16="http://schemas.microsoft.com/office/drawing/2014/main" id="{BC646206-FEAC-4AC2-A6F0-4C2CDB9477B6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直接连接符 131">
                <a:extLst>
                  <a:ext uri="{FF2B5EF4-FFF2-40B4-BE49-F238E27FC236}">
                    <a16:creationId xmlns:a16="http://schemas.microsoft.com/office/drawing/2014/main" id="{A08262EF-63C2-40A1-8E12-F9D56747547C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直接连接符 132">
                <a:extLst>
                  <a:ext uri="{FF2B5EF4-FFF2-40B4-BE49-F238E27FC236}">
                    <a16:creationId xmlns:a16="http://schemas.microsoft.com/office/drawing/2014/main" id="{8B0B7608-0F34-4927-BB7E-CA3BA4B74DC2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组合 112">
              <a:extLst>
                <a:ext uri="{FF2B5EF4-FFF2-40B4-BE49-F238E27FC236}">
                  <a16:creationId xmlns:a16="http://schemas.microsoft.com/office/drawing/2014/main" id="{5FDFB929-7B5A-4D99-9E1D-3468809DBB13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122" name="直接连接符 121">
                <a:extLst>
                  <a:ext uri="{FF2B5EF4-FFF2-40B4-BE49-F238E27FC236}">
                    <a16:creationId xmlns:a16="http://schemas.microsoft.com/office/drawing/2014/main" id="{CEE6843C-36E2-4279-95ED-F2CA57FCA0A9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直接连接符 122">
                <a:extLst>
                  <a:ext uri="{FF2B5EF4-FFF2-40B4-BE49-F238E27FC236}">
                    <a16:creationId xmlns:a16="http://schemas.microsoft.com/office/drawing/2014/main" id="{868D9801-87DD-4ED3-96DB-E22249CA2496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直接连接符 123">
                <a:extLst>
                  <a:ext uri="{FF2B5EF4-FFF2-40B4-BE49-F238E27FC236}">
                    <a16:creationId xmlns:a16="http://schemas.microsoft.com/office/drawing/2014/main" id="{4DD0F6A4-5922-46AA-B44A-E07E2EC01E45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直接连接符 124">
                <a:extLst>
                  <a:ext uri="{FF2B5EF4-FFF2-40B4-BE49-F238E27FC236}">
                    <a16:creationId xmlns:a16="http://schemas.microsoft.com/office/drawing/2014/main" id="{C39C8438-E36A-48A5-A8E2-3367B5E69F19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直接连接符 125">
                <a:extLst>
                  <a:ext uri="{FF2B5EF4-FFF2-40B4-BE49-F238E27FC236}">
                    <a16:creationId xmlns:a16="http://schemas.microsoft.com/office/drawing/2014/main" id="{FFDC97ED-6F67-4405-A823-E673BF6567E4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组合 113">
              <a:extLst>
                <a:ext uri="{FF2B5EF4-FFF2-40B4-BE49-F238E27FC236}">
                  <a16:creationId xmlns:a16="http://schemas.microsoft.com/office/drawing/2014/main" id="{C1CAB8D3-1A90-4E29-B577-93BE02E3A510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115" name="直接连接符 114">
                <a:extLst>
                  <a:ext uri="{FF2B5EF4-FFF2-40B4-BE49-F238E27FC236}">
                    <a16:creationId xmlns:a16="http://schemas.microsoft.com/office/drawing/2014/main" id="{BE8C61E3-6D1B-4AD6-AEDE-990B3477D904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直接连接符 115">
                <a:extLst>
                  <a:ext uri="{FF2B5EF4-FFF2-40B4-BE49-F238E27FC236}">
                    <a16:creationId xmlns:a16="http://schemas.microsoft.com/office/drawing/2014/main" id="{9607B8E9-E759-4E2F-975D-0F907E4C4BFB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直接连接符 116">
                <a:extLst>
                  <a:ext uri="{FF2B5EF4-FFF2-40B4-BE49-F238E27FC236}">
                    <a16:creationId xmlns:a16="http://schemas.microsoft.com/office/drawing/2014/main" id="{3CACA919-02CF-4B27-93C2-B0F7B5CA6666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直接连接符 117">
                <a:extLst>
                  <a:ext uri="{FF2B5EF4-FFF2-40B4-BE49-F238E27FC236}">
                    <a16:creationId xmlns:a16="http://schemas.microsoft.com/office/drawing/2014/main" id="{99E29659-E54E-4514-A559-36DC618D22F3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直接连接符 118">
                <a:extLst>
                  <a:ext uri="{FF2B5EF4-FFF2-40B4-BE49-F238E27FC236}">
                    <a16:creationId xmlns:a16="http://schemas.microsoft.com/office/drawing/2014/main" id="{CB3CE53B-60E6-4BA0-8991-F4E03785282C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直接连接符 119">
                <a:extLst>
                  <a:ext uri="{FF2B5EF4-FFF2-40B4-BE49-F238E27FC236}">
                    <a16:creationId xmlns:a16="http://schemas.microsoft.com/office/drawing/2014/main" id="{FB329288-72F2-4B27-AB54-CC4CB305B24C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直接连接符 120">
                <a:extLst>
                  <a:ext uri="{FF2B5EF4-FFF2-40B4-BE49-F238E27FC236}">
                    <a16:creationId xmlns:a16="http://schemas.microsoft.com/office/drawing/2014/main" id="{92BDB043-5C41-41F4-9C90-93E69DD71EEC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6" name="椭圆 135">
            <a:extLst>
              <a:ext uri="{FF2B5EF4-FFF2-40B4-BE49-F238E27FC236}">
                <a16:creationId xmlns:a16="http://schemas.microsoft.com/office/drawing/2014/main" id="{DCB96351-0A95-4880-BB91-4B49779BA986}"/>
              </a:ext>
            </a:extLst>
          </p:cNvPr>
          <p:cNvSpPr/>
          <p:nvPr userDrawn="1"/>
        </p:nvSpPr>
        <p:spPr>
          <a:xfrm>
            <a:off x="7638896" y="584424"/>
            <a:ext cx="3992052" cy="3992052"/>
          </a:xfrm>
          <a:prstGeom prst="ellipse">
            <a:avLst/>
          </a:prstGeom>
          <a:gradFill>
            <a:gsLst>
              <a:gs pos="16000">
                <a:schemeClr val="accent1">
                  <a:lumMod val="50000"/>
                  <a:lumOff val="50000"/>
                  <a:alpha val="16000"/>
                </a:schemeClr>
              </a:gs>
              <a:gs pos="100000">
                <a:schemeClr val="accent3"/>
              </a:gs>
            </a:gsLst>
            <a:lin ang="2700000" scaled="1"/>
          </a:gradFill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137" name="组合 136">
            <a:extLst>
              <a:ext uri="{FF2B5EF4-FFF2-40B4-BE49-F238E27FC236}">
                <a16:creationId xmlns:a16="http://schemas.microsoft.com/office/drawing/2014/main" id="{D541F1F6-2D7E-4BBA-ABB7-EB7FB55C3848}"/>
              </a:ext>
            </a:extLst>
          </p:cNvPr>
          <p:cNvGrpSpPr/>
          <p:nvPr userDrawn="1"/>
        </p:nvGrpSpPr>
        <p:grpSpPr>
          <a:xfrm flipH="1">
            <a:off x="7294010" y="2473900"/>
            <a:ext cx="4224890" cy="4384100"/>
            <a:chOff x="663550" y="1753175"/>
            <a:chExt cx="4224890" cy="4384100"/>
          </a:xfrm>
        </p:grpSpPr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42F81350-B9D4-4084-9126-525A6D8A00BF}"/>
                </a:ext>
              </a:extLst>
            </p:cNvPr>
            <p:cNvGrpSpPr/>
            <p:nvPr userDrawn="1"/>
          </p:nvGrpSpPr>
          <p:grpSpPr>
            <a:xfrm>
              <a:off x="838198" y="2361209"/>
              <a:ext cx="1358795" cy="553764"/>
              <a:chOff x="97285" y="2698479"/>
              <a:chExt cx="1358795" cy="553764"/>
            </a:xfrm>
          </p:grpSpPr>
          <p:sp>
            <p:nvSpPr>
              <p:cNvPr id="228" name="矩形 227">
                <a:extLst>
                  <a:ext uri="{FF2B5EF4-FFF2-40B4-BE49-F238E27FC236}">
                    <a16:creationId xmlns:a16="http://schemas.microsoft.com/office/drawing/2014/main" id="{EBFCE7E7-2AB2-4CFF-8E29-1A3FB24C830A}"/>
                  </a:ext>
                </a:extLst>
              </p:cNvPr>
              <p:cNvSpPr/>
              <p:nvPr userDrawn="1"/>
            </p:nvSpPr>
            <p:spPr bwMode="auto">
              <a:xfrm>
                <a:off x="97285" y="3125390"/>
                <a:ext cx="1358795" cy="126853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29" name="矩形 228">
                <a:extLst>
                  <a:ext uri="{FF2B5EF4-FFF2-40B4-BE49-F238E27FC236}">
                    <a16:creationId xmlns:a16="http://schemas.microsoft.com/office/drawing/2014/main" id="{334A40F5-711C-4252-A17C-445E222720B3}"/>
                  </a:ext>
                </a:extLst>
              </p:cNvPr>
              <p:cNvSpPr/>
              <p:nvPr userDrawn="1"/>
            </p:nvSpPr>
            <p:spPr bwMode="auto">
              <a:xfrm>
                <a:off x="355871" y="2913154"/>
                <a:ext cx="229312" cy="21223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30" name="矩形 229">
                <a:extLst>
                  <a:ext uri="{FF2B5EF4-FFF2-40B4-BE49-F238E27FC236}">
                    <a16:creationId xmlns:a16="http://schemas.microsoft.com/office/drawing/2014/main" id="{C7FF623C-3AC2-4E8F-8470-0CE100FD506F}"/>
                  </a:ext>
                </a:extLst>
              </p:cNvPr>
              <p:cNvSpPr/>
              <p:nvPr userDrawn="1"/>
            </p:nvSpPr>
            <p:spPr bwMode="auto">
              <a:xfrm>
                <a:off x="690081" y="2725314"/>
                <a:ext cx="126853" cy="40007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31" name="矩形 230">
                <a:extLst>
                  <a:ext uri="{FF2B5EF4-FFF2-40B4-BE49-F238E27FC236}">
                    <a16:creationId xmlns:a16="http://schemas.microsoft.com/office/drawing/2014/main" id="{02A89787-276B-402A-8326-4961B932B4BF}"/>
                  </a:ext>
                </a:extLst>
              </p:cNvPr>
              <p:cNvSpPr/>
              <p:nvPr userDrawn="1"/>
            </p:nvSpPr>
            <p:spPr bwMode="auto">
              <a:xfrm>
                <a:off x="816934" y="2725314"/>
                <a:ext cx="126853" cy="400076"/>
              </a:xfrm>
              <a:prstGeom prst="rect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32" name="任意多边形: 形状 231">
                <a:extLst>
                  <a:ext uri="{FF2B5EF4-FFF2-40B4-BE49-F238E27FC236}">
                    <a16:creationId xmlns:a16="http://schemas.microsoft.com/office/drawing/2014/main" id="{BFEA9D21-53D3-4D1C-94A1-8E7DA3E62292}"/>
                  </a:ext>
                </a:extLst>
              </p:cNvPr>
              <p:cNvSpPr/>
              <p:nvPr userDrawn="1"/>
            </p:nvSpPr>
            <p:spPr bwMode="auto">
              <a:xfrm>
                <a:off x="948667" y="2698479"/>
                <a:ext cx="290300" cy="422032"/>
              </a:xfrm>
              <a:custGeom>
                <a:avLst/>
                <a:gdLst>
                  <a:gd name="T0" fmla="*/ 119 w 119"/>
                  <a:gd name="T1" fmla="*/ 150 h 173"/>
                  <a:gd name="T2" fmla="*/ 71 w 119"/>
                  <a:gd name="T3" fmla="*/ 173 h 173"/>
                  <a:gd name="T4" fmla="*/ 0 w 119"/>
                  <a:gd name="T5" fmla="*/ 23 h 173"/>
                  <a:gd name="T6" fmla="*/ 48 w 119"/>
                  <a:gd name="T7" fmla="*/ 0 h 173"/>
                  <a:gd name="T8" fmla="*/ 119 w 119"/>
                  <a:gd name="T9" fmla="*/ 15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9" h="173">
                    <a:moveTo>
                      <a:pt x="119" y="150"/>
                    </a:moveTo>
                    <a:lnTo>
                      <a:pt x="71" y="173"/>
                    </a:lnTo>
                    <a:lnTo>
                      <a:pt x="0" y="23"/>
                    </a:lnTo>
                    <a:lnTo>
                      <a:pt x="48" y="0"/>
                    </a:lnTo>
                    <a:lnTo>
                      <a:pt x="119" y="150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9" name="组合 138">
              <a:extLst>
                <a:ext uri="{FF2B5EF4-FFF2-40B4-BE49-F238E27FC236}">
                  <a16:creationId xmlns:a16="http://schemas.microsoft.com/office/drawing/2014/main" id="{BC6F3247-49F9-4B34-AB90-1B4122B5A8B0}"/>
                </a:ext>
              </a:extLst>
            </p:cNvPr>
            <p:cNvGrpSpPr/>
            <p:nvPr userDrawn="1"/>
          </p:nvGrpSpPr>
          <p:grpSpPr>
            <a:xfrm>
              <a:off x="2600039" y="1753175"/>
              <a:ext cx="700134" cy="692816"/>
              <a:chOff x="5125249" y="2743947"/>
              <a:chExt cx="700134" cy="692816"/>
            </a:xfrm>
          </p:grpSpPr>
          <p:sp>
            <p:nvSpPr>
              <p:cNvPr id="222" name="任意多边形: 形状 221">
                <a:extLst>
                  <a:ext uri="{FF2B5EF4-FFF2-40B4-BE49-F238E27FC236}">
                    <a16:creationId xmlns:a16="http://schemas.microsoft.com/office/drawing/2014/main" id="{FA59675C-38F8-4C89-BED3-0B0C80ED0869}"/>
                  </a:ext>
                </a:extLst>
              </p:cNvPr>
              <p:cNvSpPr/>
              <p:nvPr userDrawn="1"/>
            </p:nvSpPr>
            <p:spPr bwMode="auto">
              <a:xfrm>
                <a:off x="5205752" y="2819571"/>
                <a:ext cx="539128" cy="546446"/>
              </a:xfrm>
              <a:custGeom>
                <a:avLst/>
                <a:gdLst>
                  <a:gd name="T0" fmla="*/ 221 w 221"/>
                  <a:gd name="T1" fmla="*/ 48 h 224"/>
                  <a:gd name="T2" fmla="*/ 171 w 221"/>
                  <a:gd name="T3" fmla="*/ 0 h 224"/>
                  <a:gd name="T4" fmla="*/ 0 w 221"/>
                  <a:gd name="T5" fmla="*/ 172 h 224"/>
                  <a:gd name="T6" fmla="*/ 54 w 221"/>
                  <a:gd name="T7" fmla="*/ 224 h 224"/>
                  <a:gd name="T8" fmla="*/ 221 w 221"/>
                  <a:gd name="T9" fmla="*/ 4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224">
                    <a:moveTo>
                      <a:pt x="221" y="48"/>
                    </a:moveTo>
                    <a:lnTo>
                      <a:pt x="171" y="0"/>
                    </a:lnTo>
                    <a:lnTo>
                      <a:pt x="0" y="172"/>
                    </a:lnTo>
                    <a:lnTo>
                      <a:pt x="54" y="224"/>
                    </a:lnTo>
                    <a:lnTo>
                      <a:pt x="221" y="48"/>
                    </a:lnTo>
                    <a:close/>
                  </a:path>
                </a:pathLst>
              </a:cu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椭圆 222">
                <a:extLst>
                  <a:ext uri="{FF2B5EF4-FFF2-40B4-BE49-F238E27FC236}">
                    <a16:creationId xmlns:a16="http://schemas.microsoft.com/office/drawing/2014/main" id="{5C213D23-A142-4385-AA3F-52DD3B42EB76}"/>
                  </a:ext>
                </a:extLst>
              </p:cNvPr>
              <p:cNvSpPr/>
              <p:nvPr userDrawn="1"/>
            </p:nvSpPr>
            <p:spPr bwMode="auto">
              <a:xfrm>
                <a:off x="5232587" y="2839087"/>
                <a:ext cx="592796" cy="597676"/>
              </a:xfrm>
              <a:prstGeom prst="ellipse">
                <a:avLst/>
              </a:pr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椭圆 223">
                <a:extLst>
                  <a:ext uri="{FF2B5EF4-FFF2-40B4-BE49-F238E27FC236}">
                    <a16:creationId xmlns:a16="http://schemas.microsoft.com/office/drawing/2014/main" id="{8EDB94EA-E54E-465E-8F9E-579B8794F56B}"/>
                  </a:ext>
                </a:extLst>
              </p:cNvPr>
              <p:cNvSpPr/>
              <p:nvPr userDrawn="1"/>
            </p:nvSpPr>
            <p:spPr bwMode="auto">
              <a:xfrm>
                <a:off x="5125249" y="2743947"/>
                <a:ext cx="592796" cy="59279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直接连接符 224">
                <a:extLst>
                  <a:ext uri="{FF2B5EF4-FFF2-40B4-BE49-F238E27FC236}">
                    <a16:creationId xmlns:a16="http://schemas.microsoft.com/office/drawing/2014/main" id="{AD14C9EC-D871-49D2-868F-D931873F8DA6}"/>
                  </a:ext>
                </a:extLst>
              </p:cNvPr>
              <p:cNvSpPr/>
              <p:nvPr userDrawn="1"/>
            </p:nvSpPr>
            <p:spPr bwMode="auto">
              <a:xfrm flipH="1">
                <a:off x="5425305" y="2919590"/>
                <a:ext cx="187841" cy="117095"/>
              </a:xfrm>
              <a:prstGeom prst="line">
                <a:avLst/>
              </a:prstGeom>
              <a:noFill/>
              <a:ln w="9525" cap="flat">
                <a:solidFill>
                  <a:srgbClr val="FE5D5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26" name="椭圆 225">
                <a:extLst>
                  <a:ext uri="{FF2B5EF4-FFF2-40B4-BE49-F238E27FC236}">
                    <a16:creationId xmlns:a16="http://schemas.microsoft.com/office/drawing/2014/main" id="{DBD8551C-E45A-4E82-A51D-F3D10DBC08E4}"/>
                  </a:ext>
                </a:extLst>
              </p:cNvPr>
              <p:cNvSpPr/>
              <p:nvPr userDrawn="1"/>
            </p:nvSpPr>
            <p:spPr bwMode="auto">
              <a:xfrm>
                <a:off x="5378955" y="2997654"/>
                <a:ext cx="80504" cy="85383"/>
              </a:xfrm>
              <a:prstGeom prst="ellipse">
                <a:avLst/>
              </a:prstGeom>
              <a:solidFill>
                <a:srgbClr val="D1D7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sp>
            <p:nvSpPr>
              <p:cNvPr id="227" name="直接连接符 226">
                <a:extLst>
                  <a:ext uri="{FF2B5EF4-FFF2-40B4-BE49-F238E27FC236}">
                    <a16:creationId xmlns:a16="http://schemas.microsoft.com/office/drawing/2014/main" id="{73BA8C78-394C-40AE-8D2F-3EB1493A233A}"/>
                  </a:ext>
                </a:extLst>
              </p:cNvPr>
              <p:cNvSpPr/>
              <p:nvPr userDrawn="1"/>
            </p:nvSpPr>
            <p:spPr bwMode="auto">
              <a:xfrm>
                <a:off x="5317968" y="2946424"/>
                <a:ext cx="95141" cy="90261"/>
              </a:xfrm>
              <a:prstGeom prst="line">
                <a:avLst/>
              </a:prstGeom>
              <a:noFill/>
              <a:ln w="9525" cap="flat">
                <a:solidFill>
                  <a:srgbClr val="D1D7DB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40" name="直接连接符 139">
              <a:extLst>
                <a:ext uri="{FF2B5EF4-FFF2-40B4-BE49-F238E27FC236}">
                  <a16:creationId xmlns:a16="http://schemas.microsoft.com/office/drawing/2014/main" id="{640B2005-A999-4D1A-845E-5EE16A247F33}"/>
                </a:ext>
              </a:extLst>
            </p:cNvPr>
            <p:cNvSpPr/>
            <p:nvPr userDrawn="1"/>
          </p:nvSpPr>
          <p:spPr bwMode="auto">
            <a:xfrm>
              <a:off x="2056195" y="5062344"/>
              <a:ext cx="663541" cy="1051420"/>
            </a:xfrm>
            <a:prstGeom prst="line">
              <a:avLst/>
            </a:pr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1" name="直接连接符 140">
              <a:extLst>
                <a:ext uri="{FF2B5EF4-FFF2-40B4-BE49-F238E27FC236}">
                  <a16:creationId xmlns:a16="http://schemas.microsoft.com/office/drawing/2014/main" id="{FF20F664-EE88-4774-8A90-118E619EAE71}"/>
                </a:ext>
              </a:extLst>
            </p:cNvPr>
            <p:cNvSpPr/>
            <p:nvPr userDrawn="1"/>
          </p:nvSpPr>
          <p:spPr bwMode="auto">
            <a:xfrm flipH="1">
              <a:off x="2024480" y="5062344"/>
              <a:ext cx="614751" cy="1051420"/>
            </a:xfrm>
            <a:prstGeom prst="line">
              <a:avLst/>
            </a:pr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C08BB770-23D5-4D48-A577-6A5CCC22014F}"/>
                </a:ext>
              </a:extLst>
            </p:cNvPr>
            <p:cNvSpPr/>
            <p:nvPr userDrawn="1"/>
          </p:nvSpPr>
          <p:spPr bwMode="auto">
            <a:xfrm>
              <a:off x="1558539" y="3627925"/>
              <a:ext cx="1273413" cy="1617382"/>
            </a:xfrm>
            <a:custGeom>
              <a:avLst/>
              <a:gdLst>
                <a:gd name="T0" fmla="*/ 247 w 251"/>
                <a:gd name="T1" fmla="*/ 300 h 319"/>
                <a:gd name="T2" fmla="*/ 143 w 251"/>
                <a:gd name="T3" fmla="*/ 311 h 319"/>
                <a:gd name="T4" fmla="*/ 4 w 251"/>
                <a:gd name="T5" fmla="*/ 163 h 319"/>
                <a:gd name="T6" fmla="*/ 52 w 251"/>
                <a:gd name="T7" fmla="*/ 0 h 319"/>
                <a:gd name="T8" fmla="*/ 251 w 251"/>
                <a:gd name="T9" fmla="*/ 209 h 319"/>
                <a:gd name="T10" fmla="*/ 247 w 251"/>
                <a:gd name="T11" fmla="*/ 30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" h="319">
                  <a:moveTo>
                    <a:pt x="247" y="300"/>
                  </a:moveTo>
                  <a:cubicBezTo>
                    <a:pt x="247" y="300"/>
                    <a:pt x="226" y="319"/>
                    <a:pt x="143" y="311"/>
                  </a:cubicBezTo>
                  <a:cubicBezTo>
                    <a:pt x="60" y="302"/>
                    <a:pt x="8" y="259"/>
                    <a:pt x="4" y="163"/>
                  </a:cubicBezTo>
                  <a:cubicBezTo>
                    <a:pt x="0" y="67"/>
                    <a:pt x="52" y="0"/>
                    <a:pt x="52" y="0"/>
                  </a:cubicBezTo>
                  <a:cubicBezTo>
                    <a:pt x="251" y="209"/>
                    <a:pt x="251" y="209"/>
                    <a:pt x="251" y="209"/>
                  </a:cubicBezTo>
                  <a:lnTo>
                    <a:pt x="247" y="3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85EB49C3-18AF-42F8-82B1-C92BCBDCC44F}"/>
                </a:ext>
              </a:extLst>
            </p:cNvPr>
            <p:cNvSpPr/>
            <p:nvPr userDrawn="1"/>
          </p:nvSpPr>
          <p:spPr bwMode="auto">
            <a:xfrm>
              <a:off x="1524386" y="3257122"/>
              <a:ext cx="1166075" cy="624509"/>
            </a:xfrm>
            <a:custGeom>
              <a:avLst/>
              <a:gdLst>
                <a:gd name="T0" fmla="*/ 105 w 230"/>
                <a:gd name="T1" fmla="*/ 16 h 123"/>
                <a:gd name="T2" fmla="*/ 61 w 230"/>
                <a:gd name="T3" fmla="*/ 33 h 123"/>
                <a:gd name="T4" fmla="*/ 19 w 230"/>
                <a:gd name="T5" fmla="*/ 60 h 123"/>
                <a:gd name="T6" fmla="*/ 49 w 230"/>
                <a:gd name="T7" fmla="*/ 123 h 123"/>
                <a:gd name="T8" fmla="*/ 191 w 230"/>
                <a:gd name="T9" fmla="*/ 117 h 123"/>
                <a:gd name="T10" fmla="*/ 184 w 230"/>
                <a:gd name="T11" fmla="*/ 47 h 123"/>
                <a:gd name="T12" fmla="*/ 153 w 230"/>
                <a:gd name="T13" fmla="*/ 22 h 123"/>
                <a:gd name="T14" fmla="*/ 105 w 230"/>
                <a:gd name="T15" fmla="*/ 1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0" h="123">
                  <a:moveTo>
                    <a:pt x="105" y="16"/>
                  </a:moveTo>
                  <a:cubicBezTo>
                    <a:pt x="105" y="16"/>
                    <a:pt x="68" y="0"/>
                    <a:pt x="61" y="33"/>
                  </a:cubicBezTo>
                  <a:cubicBezTo>
                    <a:pt x="61" y="33"/>
                    <a:pt x="33" y="29"/>
                    <a:pt x="19" y="60"/>
                  </a:cubicBezTo>
                  <a:cubicBezTo>
                    <a:pt x="0" y="103"/>
                    <a:pt x="49" y="123"/>
                    <a:pt x="49" y="123"/>
                  </a:cubicBezTo>
                  <a:cubicBezTo>
                    <a:pt x="191" y="117"/>
                    <a:pt x="191" y="117"/>
                    <a:pt x="191" y="117"/>
                  </a:cubicBezTo>
                  <a:cubicBezTo>
                    <a:pt x="191" y="117"/>
                    <a:pt x="230" y="66"/>
                    <a:pt x="184" y="47"/>
                  </a:cubicBezTo>
                  <a:cubicBezTo>
                    <a:pt x="184" y="47"/>
                    <a:pt x="184" y="15"/>
                    <a:pt x="153" y="22"/>
                  </a:cubicBezTo>
                  <a:lnTo>
                    <a:pt x="105" y="16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884CF6E8-31D9-41D4-866A-A255CFD444D6}"/>
                </a:ext>
              </a:extLst>
            </p:cNvPr>
            <p:cNvSpPr/>
            <p:nvPr userDrawn="1"/>
          </p:nvSpPr>
          <p:spPr bwMode="auto">
            <a:xfrm>
              <a:off x="3334486" y="5635623"/>
              <a:ext cx="263465" cy="324453"/>
            </a:xfrm>
            <a:custGeom>
              <a:avLst/>
              <a:gdLst>
                <a:gd name="T0" fmla="*/ 108 w 108"/>
                <a:gd name="T1" fmla="*/ 133 h 133"/>
                <a:gd name="T2" fmla="*/ 36 w 108"/>
                <a:gd name="T3" fmla="*/ 133 h 133"/>
                <a:gd name="T4" fmla="*/ 0 w 108"/>
                <a:gd name="T5" fmla="*/ 17 h 133"/>
                <a:gd name="T6" fmla="*/ 69 w 108"/>
                <a:gd name="T7" fmla="*/ 0 h 133"/>
                <a:gd name="T8" fmla="*/ 108 w 108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33">
                  <a:moveTo>
                    <a:pt x="108" y="133"/>
                  </a:moveTo>
                  <a:lnTo>
                    <a:pt x="36" y="133"/>
                  </a:lnTo>
                  <a:lnTo>
                    <a:pt x="0" y="17"/>
                  </a:lnTo>
                  <a:lnTo>
                    <a:pt x="69" y="0"/>
                  </a:lnTo>
                  <a:lnTo>
                    <a:pt x="108" y="133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859479CB-321D-458C-ABDC-73591009CC79}"/>
                </a:ext>
              </a:extLst>
            </p:cNvPr>
            <p:cNvSpPr/>
            <p:nvPr userDrawn="1"/>
          </p:nvSpPr>
          <p:spPr bwMode="auto">
            <a:xfrm>
              <a:off x="3366200" y="5906407"/>
              <a:ext cx="531808" cy="161006"/>
            </a:xfrm>
            <a:custGeom>
              <a:avLst/>
              <a:gdLst>
                <a:gd name="T0" fmla="*/ 10 w 105"/>
                <a:gd name="T1" fmla="*/ 3 h 32"/>
                <a:gd name="T2" fmla="*/ 45 w 105"/>
                <a:gd name="T3" fmla="*/ 0 h 32"/>
                <a:gd name="T4" fmla="*/ 105 w 105"/>
                <a:gd name="T5" fmla="*/ 32 h 32"/>
                <a:gd name="T6" fmla="*/ 0 w 105"/>
                <a:gd name="T7" fmla="*/ 32 h 32"/>
                <a:gd name="T8" fmla="*/ 5 w 105"/>
                <a:gd name="T9" fmla="*/ 7 h 32"/>
                <a:gd name="T10" fmla="*/ 10 w 105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2">
                  <a:moveTo>
                    <a:pt x="10" y="3"/>
                  </a:moveTo>
                  <a:cubicBezTo>
                    <a:pt x="18" y="6"/>
                    <a:pt x="37" y="13"/>
                    <a:pt x="45" y="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4"/>
                    <a:pt x="7" y="3"/>
                    <a:pt x="10" y="3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6" name="矩形 145">
              <a:extLst>
                <a:ext uri="{FF2B5EF4-FFF2-40B4-BE49-F238E27FC236}">
                  <a16:creationId xmlns:a16="http://schemas.microsoft.com/office/drawing/2014/main" id="{E34A6529-AE30-4A34-B325-EA55EA825CCA}"/>
                </a:ext>
              </a:extLst>
            </p:cNvPr>
            <p:cNvSpPr/>
            <p:nvPr userDrawn="1"/>
          </p:nvSpPr>
          <p:spPr bwMode="auto">
            <a:xfrm>
              <a:off x="3366200" y="6067413"/>
              <a:ext cx="531808" cy="463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A7161192-02FC-49DA-A773-3EA3B4B71FF2}"/>
                </a:ext>
              </a:extLst>
            </p:cNvPr>
            <p:cNvSpPr/>
            <p:nvPr userDrawn="1"/>
          </p:nvSpPr>
          <p:spPr bwMode="auto">
            <a:xfrm>
              <a:off x="2812436" y="4596401"/>
              <a:ext cx="826988" cy="1222184"/>
            </a:xfrm>
            <a:custGeom>
              <a:avLst/>
              <a:gdLst>
                <a:gd name="T0" fmla="*/ 0 w 163"/>
                <a:gd name="T1" fmla="*/ 0 h 241"/>
                <a:gd name="T2" fmla="*/ 66 w 163"/>
                <a:gd name="T3" fmla="*/ 23 h 241"/>
                <a:gd name="T4" fmla="*/ 103 w 163"/>
                <a:gd name="T5" fmla="*/ 60 h 241"/>
                <a:gd name="T6" fmla="*/ 163 w 163"/>
                <a:gd name="T7" fmla="*/ 234 h 241"/>
                <a:gd name="T8" fmla="*/ 100 w 163"/>
                <a:gd name="T9" fmla="*/ 241 h 241"/>
                <a:gd name="T10" fmla="*/ 31 w 163"/>
                <a:gd name="T11" fmla="*/ 71 h 241"/>
                <a:gd name="T12" fmla="*/ 0 w 163"/>
                <a:gd name="T13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241">
                  <a:moveTo>
                    <a:pt x="0" y="0"/>
                  </a:moveTo>
                  <a:cubicBezTo>
                    <a:pt x="66" y="23"/>
                    <a:pt x="66" y="23"/>
                    <a:pt x="66" y="23"/>
                  </a:cubicBezTo>
                  <a:cubicBezTo>
                    <a:pt x="84" y="28"/>
                    <a:pt x="97" y="42"/>
                    <a:pt x="103" y="60"/>
                  </a:cubicBezTo>
                  <a:cubicBezTo>
                    <a:pt x="163" y="234"/>
                    <a:pt x="163" y="234"/>
                    <a:pt x="163" y="234"/>
                  </a:cubicBezTo>
                  <a:cubicBezTo>
                    <a:pt x="100" y="241"/>
                    <a:pt x="100" y="241"/>
                    <a:pt x="100" y="241"/>
                  </a:cubicBezTo>
                  <a:cubicBezTo>
                    <a:pt x="31" y="71"/>
                    <a:pt x="31" y="71"/>
                    <a:pt x="31" y="7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D3F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C58A5F29-1375-481B-8E65-81E2BB37C4B2}"/>
                </a:ext>
              </a:extLst>
            </p:cNvPr>
            <p:cNvSpPr/>
            <p:nvPr userDrawn="1"/>
          </p:nvSpPr>
          <p:spPr bwMode="auto">
            <a:xfrm>
              <a:off x="2522136" y="5677095"/>
              <a:ext cx="275663" cy="282981"/>
            </a:xfrm>
            <a:custGeom>
              <a:avLst/>
              <a:gdLst>
                <a:gd name="T0" fmla="*/ 73 w 113"/>
                <a:gd name="T1" fmla="*/ 116 h 116"/>
                <a:gd name="T2" fmla="*/ 0 w 113"/>
                <a:gd name="T3" fmla="*/ 116 h 116"/>
                <a:gd name="T4" fmla="*/ 38 w 113"/>
                <a:gd name="T5" fmla="*/ 0 h 116"/>
                <a:gd name="T6" fmla="*/ 113 w 113"/>
                <a:gd name="T7" fmla="*/ 0 h 116"/>
                <a:gd name="T8" fmla="*/ 73 w 113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6">
                  <a:moveTo>
                    <a:pt x="73" y="116"/>
                  </a:moveTo>
                  <a:lnTo>
                    <a:pt x="0" y="116"/>
                  </a:lnTo>
                  <a:lnTo>
                    <a:pt x="38" y="0"/>
                  </a:lnTo>
                  <a:lnTo>
                    <a:pt x="113" y="0"/>
                  </a:lnTo>
                  <a:lnTo>
                    <a:pt x="73" y="116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6FFC8E4E-2D8A-42AA-AD24-9A55A58C9862}"/>
                </a:ext>
              </a:extLst>
            </p:cNvPr>
            <p:cNvSpPr/>
            <p:nvPr userDrawn="1"/>
          </p:nvSpPr>
          <p:spPr bwMode="auto">
            <a:xfrm>
              <a:off x="2483105" y="5906407"/>
              <a:ext cx="531808" cy="161006"/>
            </a:xfrm>
            <a:custGeom>
              <a:avLst/>
              <a:gdLst>
                <a:gd name="T0" fmla="*/ 10 w 105"/>
                <a:gd name="T1" fmla="*/ 3 h 32"/>
                <a:gd name="T2" fmla="*/ 46 w 105"/>
                <a:gd name="T3" fmla="*/ 0 h 32"/>
                <a:gd name="T4" fmla="*/ 105 w 105"/>
                <a:gd name="T5" fmla="*/ 32 h 32"/>
                <a:gd name="T6" fmla="*/ 0 w 105"/>
                <a:gd name="T7" fmla="*/ 32 h 32"/>
                <a:gd name="T8" fmla="*/ 5 w 105"/>
                <a:gd name="T9" fmla="*/ 7 h 32"/>
                <a:gd name="T10" fmla="*/ 10 w 105"/>
                <a:gd name="T1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2">
                  <a:moveTo>
                    <a:pt x="10" y="3"/>
                  </a:moveTo>
                  <a:cubicBezTo>
                    <a:pt x="18" y="6"/>
                    <a:pt x="37" y="13"/>
                    <a:pt x="46" y="0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4"/>
                    <a:pt x="8" y="3"/>
                    <a:pt x="10" y="3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0" name="矩形 149">
              <a:extLst>
                <a:ext uri="{FF2B5EF4-FFF2-40B4-BE49-F238E27FC236}">
                  <a16:creationId xmlns:a16="http://schemas.microsoft.com/office/drawing/2014/main" id="{63F9FF90-EE19-41D9-8640-1635A8A7C6D4}"/>
                </a:ext>
              </a:extLst>
            </p:cNvPr>
            <p:cNvSpPr/>
            <p:nvPr userDrawn="1"/>
          </p:nvSpPr>
          <p:spPr bwMode="auto">
            <a:xfrm>
              <a:off x="2483105" y="6067413"/>
              <a:ext cx="531808" cy="463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84FC5DC5-265E-406D-8BBA-2A089B189628}"/>
                </a:ext>
              </a:extLst>
            </p:cNvPr>
            <p:cNvSpPr/>
            <p:nvPr userDrawn="1"/>
          </p:nvSpPr>
          <p:spPr bwMode="auto">
            <a:xfrm>
              <a:off x="1853717" y="4554930"/>
              <a:ext cx="1302687" cy="1253897"/>
            </a:xfrm>
            <a:custGeom>
              <a:avLst/>
              <a:gdLst>
                <a:gd name="T0" fmla="*/ 25 w 257"/>
                <a:gd name="T1" fmla="*/ 0 h 247"/>
                <a:gd name="T2" fmla="*/ 49 w 257"/>
                <a:gd name="T3" fmla="*/ 82 h 247"/>
                <a:gd name="T4" fmla="*/ 178 w 257"/>
                <a:gd name="T5" fmla="*/ 89 h 247"/>
                <a:gd name="T6" fmla="*/ 130 w 257"/>
                <a:gd name="T7" fmla="*/ 241 h 247"/>
                <a:gd name="T8" fmla="*/ 189 w 257"/>
                <a:gd name="T9" fmla="*/ 247 h 247"/>
                <a:gd name="T10" fmla="*/ 249 w 257"/>
                <a:gd name="T11" fmla="*/ 84 h 247"/>
                <a:gd name="T12" fmla="*/ 230 w 257"/>
                <a:gd name="T13" fmla="*/ 32 h 247"/>
                <a:gd name="T14" fmla="*/ 175 w 257"/>
                <a:gd name="T15" fmla="*/ 0 h 247"/>
                <a:gd name="T16" fmla="*/ 25 w 257"/>
                <a:gd name="T17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247">
                  <a:moveTo>
                    <a:pt x="25" y="0"/>
                  </a:moveTo>
                  <a:cubicBezTo>
                    <a:pt x="25" y="0"/>
                    <a:pt x="0" y="62"/>
                    <a:pt x="49" y="82"/>
                  </a:cubicBezTo>
                  <a:cubicBezTo>
                    <a:pt x="49" y="82"/>
                    <a:pt x="86" y="94"/>
                    <a:pt x="178" y="89"/>
                  </a:cubicBezTo>
                  <a:cubicBezTo>
                    <a:pt x="130" y="241"/>
                    <a:pt x="130" y="241"/>
                    <a:pt x="130" y="241"/>
                  </a:cubicBezTo>
                  <a:cubicBezTo>
                    <a:pt x="189" y="247"/>
                    <a:pt x="189" y="247"/>
                    <a:pt x="189" y="247"/>
                  </a:cubicBezTo>
                  <a:cubicBezTo>
                    <a:pt x="249" y="84"/>
                    <a:pt x="249" y="84"/>
                    <a:pt x="249" y="84"/>
                  </a:cubicBezTo>
                  <a:cubicBezTo>
                    <a:pt x="257" y="64"/>
                    <a:pt x="249" y="42"/>
                    <a:pt x="230" y="32"/>
                  </a:cubicBezTo>
                  <a:cubicBezTo>
                    <a:pt x="175" y="0"/>
                    <a:pt x="175" y="0"/>
                    <a:pt x="175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415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AFD5E33B-5A7D-4CC4-A190-DF25B67D3344}"/>
                </a:ext>
              </a:extLst>
            </p:cNvPr>
            <p:cNvSpPr/>
            <p:nvPr userDrawn="1"/>
          </p:nvSpPr>
          <p:spPr bwMode="auto">
            <a:xfrm>
              <a:off x="2366009" y="3671836"/>
              <a:ext cx="278101" cy="722088"/>
            </a:xfrm>
            <a:custGeom>
              <a:avLst/>
              <a:gdLst>
                <a:gd name="T0" fmla="*/ 6 w 55"/>
                <a:gd name="T1" fmla="*/ 0 h 142"/>
                <a:gd name="T2" fmla="*/ 29 w 55"/>
                <a:gd name="T3" fmla="*/ 24 h 142"/>
                <a:gd name="T4" fmla="*/ 55 w 55"/>
                <a:gd name="T5" fmla="*/ 106 h 142"/>
                <a:gd name="T6" fmla="*/ 8 w 55"/>
                <a:gd name="T7" fmla="*/ 142 h 142"/>
                <a:gd name="T8" fmla="*/ 0 w 55"/>
                <a:gd name="T9" fmla="*/ 71 h 142"/>
                <a:gd name="T10" fmla="*/ 6 w 55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42">
                  <a:moveTo>
                    <a:pt x="6" y="0"/>
                  </a:moveTo>
                  <a:cubicBezTo>
                    <a:pt x="6" y="0"/>
                    <a:pt x="22" y="0"/>
                    <a:pt x="29" y="24"/>
                  </a:cubicBezTo>
                  <a:cubicBezTo>
                    <a:pt x="36" y="48"/>
                    <a:pt x="55" y="106"/>
                    <a:pt x="55" y="106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0" y="71"/>
                    <a:pt x="0" y="71"/>
                    <a:pt x="0" y="7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51EA7651-1A60-4CA6-A01C-1873D7D20BB1}"/>
                </a:ext>
              </a:extLst>
            </p:cNvPr>
            <p:cNvSpPr/>
            <p:nvPr userDrawn="1"/>
          </p:nvSpPr>
          <p:spPr bwMode="auto">
            <a:xfrm>
              <a:off x="3095417" y="4379287"/>
              <a:ext cx="402517" cy="114657"/>
            </a:xfrm>
            <a:custGeom>
              <a:avLst/>
              <a:gdLst>
                <a:gd name="T0" fmla="*/ 4 w 79"/>
                <a:gd name="T1" fmla="*/ 0 h 23"/>
                <a:gd name="T2" fmla="*/ 45 w 79"/>
                <a:gd name="T3" fmla="*/ 0 h 23"/>
                <a:gd name="T4" fmla="*/ 66 w 79"/>
                <a:gd name="T5" fmla="*/ 7 h 23"/>
                <a:gd name="T6" fmla="*/ 79 w 79"/>
                <a:gd name="T7" fmla="*/ 18 h 23"/>
                <a:gd name="T8" fmla="*/ 72 w 79"/>
                <a:gd name="T9" fmla="*/ 23 h 23"/>
                <a:gd name="T10" fmla="*/ 0 w 79"/>
                <a:gd name="T11" fmla="*/ 23 h 23"/>
                <a:gd name="T12" fmla="*/ 4 w 79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3">
                  <a:moveTo>
                    <a:pt x="4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53" y="0"/>
                    <a:pt x="60" y="3"/>
                    <a:pt x="66" y="7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EC042202-64FD-4283-BD2E-7F43DFFD2885}"/>
                </a:ext>
              </a:extLst>
            </p:cNvPr>
            <p:cNvSpPr/>
            <p:nvPr userDrawn="1"/>
          </p:nvSpPr>
          <p:spPr bwMode="auto">
            <a:xfrm>
              <a:off x="2451392" y="4210961"/>
              <a:ext cx="695255" cy="253707"/>
            </a:xfrm>
            <a:custGeom>
              <a:avLst/>
              <a:gdLst>
                <a:gd name="T0" fmla="*/ 79 w 285"/>
                <a:gd name="T1" fmla="*/ 0 h 104"/>
                <a:gd name="T2" fmla="*/ 285 w 285"/>
                <a:gd name="T3" fmla="*/ 46 h 104"/>
                <a:gd name="T4" fmla="*/ 279 w 285"/>
                <a:gd name="T5" fmla="*/ 104 h 104"/>
                <a:gd name="T6" fmla="*/ 6 w 285"/>
                <a:gd name="T7" fmla="*/ 104 h 104"/>
                <a:gd name="T8" fmla="*/ 0 w 285"/>
                <a:gd name="T9" fmla="*/ 8 h 104"/>
                <a:gd name="T10" fmla="*/ 79 w 285"/>
                <a:gd name="T1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104">
                  <a:moveTo>
                    <a:pt x="79" y="0"/>
                  </a:moveTo>
                  <a:lnTo>
                    <a:pt x="285" y="46"/>
                  </a:lnTo>
                  <a:lnTo>
                    <a:pt x="279" y="104"/>
                  </a:lnTo>
                  <a:lnTo>
                    <a:pt x="6" y="104"/>
                  </a:lnTo>
                  <a:lnTo>
                    <a:pt x="0" y="8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1AAD28D9-FF35-41E2-AC3A-8D5213B5732A}"/>
                </a:ext>
              </a:extLst>
            </p:cNvPr>
            <p:cNvSpPr/>
            <p:nvPr userDrawn="1"/>
          </p:nvSpPr>
          <p:spPr bwMode="auto">
            <a:xfrm>
              <a:off x="1863474" y="3605968"/>
              <a:ext cx="639146" cy="887974"/>
            </a:xfrm>
            <a:custGeom>
              <a:avLst/>
              <a:gdLst>
                <a:gd name="T0" fmla="*/ 46 w 126"/>
                <a:gd name="T1" fmla="*/ 0 h 175"/>
                <a:gd name="T2" fmla="*/ 0 w 126"/>
                <a:gd name="T3" fmla="*/ 16 h 175"/>
                <a:gd name="T4" fmla="*/ 20 w 126"/>
                <a:gd name="T5" fmla="*/ 175 h 175"/>
                <a:gd name="T6" fmla="*/ 114 w 126"/>
                <a:gd name="T7" fmla="*/ 175 h 175"/>
                <a:gd name="T8" fmla="*/ 118 w 126"/>
                <a:gd name="T9" fmla="*/ 101 h 175"/>
                <a:gd name="T10" fmla="*/ 125 w 126"/>
                <a:gd name="T11" fmla="*/ 75 h 175"/>
                <a:gd name="T12" fmla="*/ 112 w 126"/>
                <a:gd name="T13" fmla="*/ 25 h 175"/>
                <a:gd name="T14" fmla="*/ 105 w 126"/>
                <a:gd name="T15" fmla="*/ 13 h 175"/>
                <a:gd name="T16" fmla="*/ 69 w 126"/>
                <a:gd name="T17" fmla="*/ 2 h 175"/>
                <a:gd name="T18" fmla="*/ 46 w 126"/>
                <a:gd name="T1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" h="175">
                  <a:moveTo>
                    <a:pt x="46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20" y="175"/>
                    <a:pt x="20" y="175"/>
                    <a:pt x="20" y="175"/>
                  </a:cubicBezTo>
                  <a:cubicBezTo>
                    <a:pt x="114" y="175"/>
                    <a:pt x="114" y="175"/>
                    <a:pt x="114" y="175"/>
                  </a:cubicBezTo>
                  <a:cubicBezTo>
                    <a:pt x="118" y="101"/>
                    <a:pt x="118" y="101"/>
                    <a:pt x="118" y="101"/>
                  </a:cubicBezTo>
                  <a:cubicBezTo>
                    <a:pt x="118" y="101"/>
                    <a:pt x="124" y="94"/>
                    <a:pt x="125" y="75"/>
                  </a:cubicBezTo>
                  <a:cubicBezTo>
                    <a:pt x="126" y="56"/>
                    <a:pt x="122" y="41"/>
                    <a:pt x="112" y="25"/>
                  </a:cubicBezTo>
                  <a:cubicBezTo>
                    <a:pt x="105" y="13"/>
                    <a:pt x="105" y="13"/>
                    <a:pt x="105" y="13"/>
                  </a:cubicBezTo>
                  <a:cubicBezTo>
                    <a:pt x="69" y="2"/>
                    <a:pt x="69" y="2"/>
                    <a:pt x="69" y="2"/>
                  </a:cubicBezTo>
                  <a:lnTo>
                    <a:pt x="46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A9B760AA-CFD7-41B6-BC5A-5C3342A43D70}"/>
                </a:ext>
              </a:extLst>
            </p:cNvPr>
            <p:cNvSpPr/>
            <p:nvPr userDrawn="1"/>
          </p:nvSpPr>
          <p:spPr bwMode="auto">
            <a:xfrm>
              <a:off x="2441634" y="3840160"/>
              <a:ext cx="97580" cy="465943"/>
            </a:xfrm>
            <a:custGeom>
              <a:avLst/>
              <a:gdLst>
                <a:gd name="T0" fmla="*/ 0 w 19"/>
                <a:gd name="T1" fmla="*/ 0 h 92"/>
                <a:gd name="T2" fmla="*/ 4 w 19"/>
                <a:gd name="T3" fmla="*/ 63 h 92"/>
                <a:gd name="T4" fmla="*/ 3 w 19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2">
                  <a:moveTo>
                    <a:pt x="0" y="0"/>
                  </a:moveTo>
                  <a:cubicBezTo>
                    <a:pt x="0" y="0"/>
                    <a:pt x="19" y="28"/>
                    <a:pt x="4" y="63"/>
                  </a:cubicBezTo>
                  <a:cubicBezTo>
                    <a:pt x="3" y="92"/>
                    <a:pt x="3" y="92"/>
                    <a:pt x="3" y="92"/>
                  </a:cubicBezTo>
                </a:path>
              </a:pathLst>
            </a:cu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A152CFB5-F021-4434-8647-72A7997D5BDA}"/>
                </a:ext>
              </a:extLst>
            </p:cNvPr>
            <p:cNvSpPr/>
            <p:nvPr userDrawn="1"/>
          </p:nvSpPr>
          <p:spPr bwMode="auto">
            <a:xfrm>
              <a:off x="1756137" y="3688912"/>
              <a:ext cx="351287" cy="805031"/>
            </a:xfrm>
            <a:custGeom>
              <a:avLst/>
              <a:gdLst>
                <a:gd name="T0" fmla="*/ 21 w 69"/>
                <a:gd name="T1" fmla="*/ 0 h 159"/>
                <a:gd name="T2" fmla="*/ 2 w 69"/>
                <a:gd name="T3" fmla="*/ 38 h 159"/>
                <a:gd name="T4" fmla="*/ 9 w 69"/>
                <a:gd name="T5" fmla="*/ 136 h 159"/>
                <a:gd name="T6" fmla="*/ 34 w 69"/>
                <a:gd name="T7" fmla="*/ 159 h 159"/>
                <a:gd name="T8" fmla="*/ 69 w 69"/>
                <a:gd name="T9" fmla="*/ 159 h 159"/>
                <a:gd name="T10" fmla="*/ 53 w 69"/>
                <a:gd name="T11" fmla="*/ 30 h 159"/>
                <a:gd name="T12" fmla="*/ 21 w 69"/>
                <a:gd name="T1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59">
                  <a:moveTo>
                    <a:pt x="21" y="0"/>
                  </a:moveTo>
                  <a:cubicBezTo>
                    <a:pt x="21" y="0"/>
                    <a:pt x="0" y="2"/>
                    <a:pt x="2" y="38"/>
                  </a:cubicBezTo>
                  <a:cubicBezTo>
                    <a:pt x="3" y="63"/>
                    <a:pt x="7" y="108"/>
                    <a:pt x="9" y="136"/>
                  </a:cubicBezTo>
                  <a:cubicBezTo>
                    <a:pt x="10" y="149"/>
                    <a:pt x="21" y="159"/>
                    <a:pt x="34" y="159"/>
                  </a:cubicBezTo>
                  <a:cubicBezTo>
                    <a:pt x="69" y="159"/>
                    <a:pt x="69" y="159"/>
                    <a:pt x="69" y="159"/>
                  </a:cubicBezTo>
                  <a:cubicBezTo>
                    <a:pt x="53" y="30"/>
                    <a:pt x="53" y="30"/>
                    <a:pt x="53" y="30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520A0E83-C0DB-446F-8307-562957B271F2}"/>
                </a:ext>
              </a:extLst>
            </p:cNvPr>
            <p:cNvSpPr/>
            <p:nvPr userDrawn="1"/>
          </p:nvSpPr>
          <p:spPr bwMode="auto">
            <a:xfrm>
              <a:off x="2497742" y="4379287"/>
              <a:ext cx="400076" cy="114657"/>
            </a:xfrm>
            <a:custGeom>
              <a:avLst/>
              <a:gdLst>
                <a:gd name="T0" fmla="*/ 5 w 79"/>
                <a:gd name="T1" fmla="*/ 0 h 23"/>
                <a:gd name="T2" fmla="*/ 46 w 79"/>
                <a:gd name="T3" fmla="*/ 0 h 23"/>
                <a:gd name="T4" fmla="*/ 66 w 79"/>
                <a:gd name="T5" fmla="*/ 7 h 23"/>
                <a:gd name="T6" fmla="*/ 79 w 79"/>
                <a:gd name="T7" fmla="*/ 18 h 23"/>
                <a:gd name="T8" fmla="*/ 72 w 79"/>
                <a:gd name="T9" fmla="*/ 23 h 23"/>
                <a:gd name="T10" fmla="*/ 0 w 79"/>
                <a:gd name="T11" fmla="*/ 23 h 23"/>
                <a:gd name="T12" fmla="*/ 5 w 79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23">
                  <a:moveTo>
                    <a:pt x="5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53" y="0"/>
                    <a:pt x="60" y="3"/>
                    <a:pt x="66" y="7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62091B8D-E7FA-495E-A290-99E55EACDBCA}"/>
                </a:ext>
              </a:extLst>
            </p:cNvPr>
            <p:cNvSpPr/>
            <p:nvPr userDrawn="1"/>
          </p:nvSpPr>
          <p:spPr bwMode="auto">
            <a:xfrm>
              <a:off x="2000086" y="4230478"/>
              <a:ext cx="548885" cy="263465"/>
            </a:xfrm>
            <a:custGeom>
              <a:avLst/>
              <a:gdLst>
                <a:gd name="T0" fmla="*/ 0 w 225"/>
                <a:gd name="T1" fmla="*/ 0 h 108"/>
                <a:gd name="T2" fmla="*/ 225 w 225"/>
                <a:gd name="T3" fmla="*/ 40 h 108"/>
                <a:gd name="T4" fmla="*/ 219 w 225"/>
                <a:gd name="T5" fmla="*/ 108 h 108"/>
                <a:gd name="T6" fmla="*/ 0 w 225"/>
                <a:gd name="T7" fmla="*/ 108 h 108"/>
                <a:gd name="T8" fmla="*/ 0 w 225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108">
                  <a:moveTo>
                    <a:pt x="0" y="0"/>
                  </a:moveTo>
                  <a:lnTo>
                    <a:pt x="225" y="40"/>
                  </a:lnTo>
                  <a:lnTo>
                    <a:pt x="219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1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FD3C8855-F7BF-467C-91E0-10EEE9D44587}"/>
                </a:ext>
              </a:extLst>
            </p:cNvPr>
            <p:cNvSpPr/>
            <p:nvPr userDrawn="1"/>
          </p:nvSpPr>
          <p:spPr bwMode="auto">
            <a:xfrm>
              <a:off x="2031800" y="3881632"/>
              <a:ext cx="517171" cy="502535"/>
            </a:xfrm>
            <a:custGeom>
              <a:avLst/>
              <a:gdLst>
                <a:gd name="T0" fmla="*/ 0 w 212"/>
                <a:gd name="T1" fmla="*/ 0 h 206"/>
                <a:gd name="T2" fmla="*/ 10 w 212"/>
                <a:gd name="T3" fmla="*/ 147 h 206"/>
                <a:gd name="T4" fmla="*/ 212 w 212"/>
                <a:gd name="T5" fmla="*/ 183 h 206"/>
                <a:gd name="T6" fmla="*/ 210 w 212"/>
                <a:gd name="T7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2" h="206">
                  <a:moveTo>
                    <a:pt x="0" y="0"/>
                  </a:moveTo>
                  <a:lnTo>
                    <a:pt x="10" y="147"/>
                  </a:lnTo>
                  <a:lnTo>
                    <a:pt x="212" y="183"/>
                  </a:lnTo>
                  <a:lnTo>
                    <a:pt x="210" y="206"/>
                  </a:lnTo>
                </a:path>
              </a:pathLst>
            </a:cu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1" name="直接连接符 160">
              <a:extLst>
                <a:ext uri="{FF2B5EF4-FFF2-40B4-BE49-F238E27FC236}">
                  <a16:creationId xmlns:a16="http://schemas.microsoft.com/office/drawing/2014/main" id="{A1689EFE-617A-418B-9CC6-D223245EA677}"/>
                </a:ext>
              </a:extLst>
            </p:cNvPr>
            <p:cNvSpPr/>
            <p:nvPr userDrawn="1"/>
          </p:nvSpPr>
          <p:spPr bwMode="auto">
            <a:xfrm flipH="1" flipV="1">
              <a:off x="1965933" y="4230478"/>
              <a:ext cx="109778" cy="14637"/>
            </a:xfrm>
            <a:prstGeom prst="line">
              <a:avLst/>
            </a:prstGeom>
            <a:noFill/>
            <a:ln w="9525" cap="flat">
              <a:solidFill>
                <a:srgbClr val="98AB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5BDAD1BE-A2A4-47FC-A050-1338E397F8E6}"/>
                </a:ext>
              </a:extLst>
            </p:cNvPr>
            <p:cNvSpPr/>
            <p:nvPr userDrawn="1"/>
          </p:nvSpPr>
          <p:spPr bwMode="auto">
            <a:xfrm>
              <a:off x="2290386" y="3237607"/>
              <a:ext cx="156128" cy="151248"/>
            </a:xfrm>
            <a:custGeom>
              <a:avLst/>
              <a:gdLst>
                <a:gd name="T0" fmla="*/ 1 w 31"/>
                <a:gd name="T1" fmla="*/ 13 h 30"/>
                <a:gd name="T2" fmla="*/ 14 w 31"/>
                <a:gd name="T3" fmla="*/ 29 h 30"/>
                <a:gd name="T4" fmla="*/ 30 w 31"/>
                <a:gd name="T5" fmla="*/ 16 h 30"/>
                <a:gd name="T6" fmla="*/ 17 w 31"/>
                <a:gd name="T7" fmla="*/ 0 h 30"/>
                <a:gd name="T8" fmla="*/ 1 w 31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0">
                  <a:moveTo>
                    <a:pt x="1" y="13"/>
                  </a:moveTo>
                  <a:cubicBezTo>
                    <a:pt x="0" y="21"/>
                    <a:pt x="6" y="28"/>
                    <a:pt x="14" y="29"/>
                  </a:cubicBezTo>
                  <a:cubicBezTo>
                    <a:pt x="22" y="30"/>
                    <a:pt x="29" y="24"/>
                    <a:pt x="30" y="16"/>
                  </a:cubicBezTo>
                  <a:cubicBezTo>
                    <a:pt x="31" y="8"/>
                    <a:pt x="25" y="1"/>
                    <a:pt x="17" y="0"/>
                  </a:cubicBezTo>
                  <a:cubicBezTo>
                    <a:pt x="9" y="0"/>
                    <a:pt x="2" y="5"/>
                    <a:pt x="1" y="13"/>
                  </a:cubicBezTo>
                  <a:close/>
                </a:path>
              </a:pathLst>
            </a:custGeom>
            <a:solidFill>
              <a:srgbClr val="EFB2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3" name="椭圆 162">
              <a:extLst>
                <a:ext uri="{FF2B5EF4-FFF2-40B4-BE49-F238E27FC236}">
                  <a16:creationId xmlns:a16="http://schemas.microsoft.com/office/drawing/2014/main" id="{24872BF5-7853-4E50-9D99-CD6DA80276F9}"/>
                </a:ext>
              </a:extLst>
            </p:cNvPr>
            <p:cNvSpPr/>
            <p:nvPr userDrawn="1"/>
          </p:nvSpPr>
          <p:spPr bwMode="auto">
            <a:xfrm>
              <a:off x="2014723" y="2857046"/>
              <a:ext cx="229312" cy="231752"/>
            </a:xfrm>
            <a:prstGeom prst="ellipse">
              <a:avLst/>
            </a:pr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074EA095-C995-4C30-86CA-3E4963A944CD}"/>
                </a:ext>
              </a:extLst>
            </p:cNvPr>
            <p:cNvSpPr/>
            <p:nvPr userDrawn="1"/>
          </p:nvSpPr>
          <p:spPr bwMode="auto">
            <a:xfrm>
              <a:off x="1943978" y="2952186"/>
              <a:ext cx="463503" cy="441548"/>
            </a:xfrm>
            <a:custGeom>
              <a:avLst/>
              <a:gdLst>
                <a:gd name="T0" fmla="*/ 91 w 91"/>
                <a:gd name="T1" fmla="*/ 44 h 87"/>
                <a:gd name="T2" fmla="*/ 48 w 91"/>
                <a:gd name="T3" fmla="*/ 87 h 87"/>
                <a:gd name="T4" fmla="*/ 0 w 91"/>
                <a:gd name="T5" fmla="*/ 48 h 87"/>
                <a:gd name="T6" fmla="*/ 48 w 91"/>
                <a:gd name="T7" fmla="*/ 0 h 87"/>
                <a:gd name="T8" fmla="*/ 91 w 91"/>
                <a:gd name="T9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87">
                  <a:moveTo>
                    <a:pt x="91" y="44"/>
                  </a:moveTo>
                  <a:cubicBezTo>
                    <a:pt x="91" y="67"/>
                    <a:pt x="71" y="87"/>
                    <a:pt x="48" y="87"/>
                  </a:cubicBezTo>
                  <a:cubicBezTo>
                    <a:pt x="24" y="87"/>
                    <a:pt x="0" y="71"/>
                    <a:pt x="0" y="48"/>
                  </a:cubicBezTo>
                  <a:cubicBezTo>
                    <a:pt x="0" y="24"/>
                    <a:pt x="24" y="0"/>
                    <a:pt x="48" y="0"/>
                  </a:cubicBezTo>
                  <a:cubicBezTo>
                    <a:pt x="71" y="0"/>
                    <a:pt x="91" y="20"/>
                    <a:pt x="91" y="44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6B24B400-1CBB-4EA3-A524-4341360EC4D0}"/>
                </a:ext>
              </a:extLst>
            </p:cNvPr>
            <p:cNvSpPr/>
            <p:nvPr userDrawn="1"/>
          </p:nvSpPr>
          <p:spPr bwMode="auto">
            <a:xfrm>
              <a:off x="2056195" y="3408371"/>
              <a:ext cx="202478" cy="336649"/>
            </a:xfrm>
            <a:custGeom>
              <a:avLst/>
              <a:gdLst>
                <a:gd name="T0" fmla="*/ 40 w 40"/>
                <a:gd name="T1" fmla="*/ 19 h 66"/>
                <a:gd name="T2" fmla="*/ 37 w 40"/>
                <a:gd name="T3" fmla="*/ 50 h 66"/>
                <a:gd name="T4" fmla="*/ 17 w 40"/>
                <a:gd name="T5" fmla="*/ 64 h 66"/>
                <a:gd name="T6" fmla="*/ 17 w 40"/>
                <a:gd name="T7" fmla="*/ 64 h 66"/>
                <a:gd name="T8" fmla="*/ 0 w 40"/>
                <a:gd name="T9" fmla="*/ 49 h 66"/>
                <a:gd name="T10" fmla="*/ 8 w 40"/>
                <a:gd name="T11" fmla="*/ 0 h 66"/>
                <a:gd name="T12" fmla="*/ 40 w 40"/>
                <a:gd name="T13" fmla="*/ 1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66">
                  <a:moveTo>
                    <a:pt x="40" y="19"/>
                  </a:moveTo>
                  <a:cubicBezTo>
                    <a:pt x="37" y="50"/>
                    <a:pt x="37" y="50"/>
                    <a:pt x="37" y="50"/>
                  </a:cubicBezTo>
                  <a:cubicBezTo>
                    <a:pt x="35" y="61"/>
                    <a:pt x="28" y="66"/>
                    <a:pt x="17" y="64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8" y="63"/>
                    <a:pt x="0" y="58"/>
                    <a:pt x="0" y="49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0" y="19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8E84191E-E8F8-4455-AA57-D645F6A86E5D}"/>
                </a:ext>
              </a:extLst>
            </p:cNvPr>
            <p:cNvSpPr/>
            <p:nvPr userDrawn="1"/>
          </p:nvSpPr>
          <p:spPr bwMode="auto">
            <a:xfrm>
              <a:off x="2080590" y="3435204"/>
              <a:ext cx="178083" cy="146369"/>
            </a:xfrm>
            <a:custGeom>
              <a:avLst/>
              <a:gdLst>
                <a:gd name="T0" fmla="*/ 33 w 35"/>
                <a:gd name="T1" fmla="*/ 29 h 29"/>
                <a:gd name="T2" fmla="*/ 0 w 35"/>
                <a:gd name="T3" fmla="*/ 0 h 29"/>
                <a:gd name="T4" fmla="*/ 35 w 35"/>
                <a:gd name="T5" fmla="*/ 11 h 29"/>
                <a:gd name="T6" fmla="*/ 33 w 35"/>
                <a:gd name="T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9">
                  <a:moveTo>
                    <a:pt x="33" y="29"/>
                  </a:moveTo>
                  <a:cubicBezTo>
                    <a:pt x="12" y="27"/>
                    <a:pt x="0" y="0"/>
                    <a:pt x="0" y="0"/>
                  </a:cubicBezTo>
                  <a:cubicBezTo>
                    <a:pt x="35" y="11"/>
                    <a:pt x="35" y="11"/>
                    <a:pt x="35" y="11"/>
                  </a:cubicBezTo>
                  <a:lnTo>
                    <a:pt x="33" y="29"/>
                  </a:lnTo>
                  <a:close/>
                </a:path>
              </a:pathLst>
            </a:custGeom>
            <a:solidFill>
              <a:srgbClr val="DD9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ECEFA419-D05F-4949-B655-0CB92AE51D3E}"/>
                </a:ext>
              </a:extLst>
            </p:cNvPr>
            <p:cNvSpPr/>
            <p:nvPr userDrawn="1"/>
          </p:nvSpPr>
          <p:spPr bwMode="auto">
            <a:xfrm>
              <a:off x="2019602" y="3003416"/>
              <a:ext cx="392759" cy="522051"/>
            </a:xfrm>
            <a:custGeom>
              <a:avLst/>
              <a:gdLst>
                <a:gd name="T0" fmla="*/ 37 w 77"/>
                <a:gd name="T1" fmla="*/ 102 h 103"/>
                <a:gd name="T2" fmla="*/ 37 w 77"/>
                <a:gd name="T3" fmla="*/ 102 h 103"/>
                <a:gd name="T4" fmla="*/ 73 w 77"/>
                <a:gd name="T5" fmla="*/ 75 h 103"/>
                <a:gd name="T6" fmla="*/ 75 w 77"/>
                <a:gd name="T7" fmla="*/ 39 h 103"/>
                <a:gd name="T8" fmla="*/ 45 w 77"/>
                <a:gd name="T9" fmla="*/ 2 h 103"/>
                <a:gd name="T10" fmla="*/ 45 w 77"/>
                <a:gd name="T11" fmla="*/ 2 h 103"/>
                <a:gd name="T12" fmla="*/ 3 w 77"/>
                <a:gd name="T13" fmla="*/ 32 h 103"/>
                <a:gd name="T14" fmla="*/ 1 w 77"/>
                <a:gd name="T15" fmla="*/ 60 h 103"/>
                <a:gd name="T16" fmla="*/ 37 w 77"/>
                <a:gd name="T17" fmla="*/ 10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03">
                  <a:moveTo>
                    <a:pt x="37" y="102"/>
                  </a:moveTo>
                  <a:cubicBezTo>
                    <a:pt x="37" y="102"/>
                    <a:pt x="37" y="102"/>
                    <a:pt x="37" y="102"/>
                  </a:cubicBezTo>
                  <a:cubicBezTo>
                    <a:pt x="55" y="103"/>
                    <a:pt x="71" y="89"/>
                    <a:pt x="73" y="75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7" y="21"/>
                    <a:pt x="64" y="4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26" y="0"/>
                    <a:pt x="5" y="13"/>
                    <a:pt x="3" y="3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82"/>
                    <a:pt x="14" y="100"/>
                    <a:pt x="37" y="102"/>
                  </a:cubicBez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EF98DFDE-5A0D-45CA-89B6-AD3F39817C3E}"/>
                </a:ext>
              </a:extLst>
            </p:cNvPr>
            <p:cNvSpPr/>
            <p:nvPr userDrawn="1"/>
          </p:nvSpPr>
          <p:spPr bwMode="auto">
            <a:xfrm>
              <a:off x="2285507" y="3359581"/>
              <a:ext cx="29274" cy="34153"/>
            </a:xfrm>
            <a:custGeom>
              <a:avLst/>
              <a:gdLst>
                <a:gd name="T0" fmla="*/ 8 w 12"/>
                <a:gd name="T1" fmla="*/ 0 h 14"/>
                <a:gd name="T2" fmla="*/ 12 w 12"/>
                <a:gd name="T3" fmla="*/ 14 h 14"/>
                <a:gd name="T4" fmla="*/ 0 w 12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4">
                  <a:moveTo>
                    <a:pt x="8" y="0"/>
                  </a:moveTo>
                  <a:lnTo>
                    <a:pt x="12" y="14"/>
                  </a:lnTo>
                  <a:lnTo>
                    <a:pt x="0" y="14"/>
                  </a:lnTo>
                </a:path>
              </a:pathLst>
            </a:custGeom>
            <a:noFill/>
            <a:ln w="6350" cap="rnd">
              <a:solidFill>
                <a:srgbClr val="201D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FAAACF0E-FA71-4FBB-A969-A4AB7C52EA99}"/>
                </a:ext>
              </a:extLst>
            </p:cNvPr>
            <p:cNvSpPr/>
            <p:nvPr userDrawn="1"/>
          </p:nvSpPr>
          <p:spPr bwMode="auto">
            <a:xfrm>
              <a:off x="2151335" y="3215650"/>
              <a:ext cx="97580" cy="51230"/>
            </a:xfrm>
            <a:custGeom>
              <a:avLst/>
              <a:gdLst>
                <a:gd name="T0" fmla="*/ 10 w 19"/>
                <a:gd name="T1" fmla="*/ 1 h 10"/>
                <a:gd name="T2" fmla="*/ 19 w 19"/>
                <a:gd name="T3" fmla="*/ 5 h 10"/>
                <a:gd name="T4" fmla="*/ 11 w 19"/>
                <a:gd name="T5" fmla="*/ 9 h 10"/>
                <a:gd name="T6" fmla="*/ 0 w 19"/>
                <a:gd name="T7" fmla="*/ 6 h 10"/>
                <a:gd name="T8" fmla="*/ 10 w 19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10" y="1"/>
                  </a:moveTo>
                  <a:cubicBezTo>
                    <a:pt x="10" y="1"/>
                    <a:pt x="19" y="0"/>
                    <a:pt x="19" y="5"/>
                  </a:cubicBezTo>
                  <a:cubicBezTo>
                    <a:pt x="19" y="5"/>
                    <a:pt x="19" y="8"/>
                    <a:pt x="11" y="9"/>
                  </a:cubicBezTo>
                  <a:cubicBezTo>
                    <a:pt x="3" y="10"/>
                    <a:pt x="1" y="9"/>
                    <a:pt x="0" y="6"/>
                  </a:cubicBezTo>
                  <a:cubicBezTo>
                    <a:pt x="0" y="3"/>
                    <a:pt x="6" y="1"/>
                    <a:pt x="10" y="1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D99F770F-BB02-450F-A103-6B2A5779F254}"/>
                </a:ext>
              </a:extLst>
            </p:cNvPr>
            <p:cNvSpPr/>
            <p:nvPr userDrawn="1"/>
          </p:nvSpPr>
          <p:spPr bwMode="auto">
            <a:xfrm>
              <a:off x="2324538" y="3220530"/>
              <a:ext cx="70746" cy="51230"/>
            </a:xfrm>
            <a:custGeom>
              <a:avLst/>
              <a:gdLst>
                <a:gd name="T0" fmla="*/ 7 w 14"/>
                <a:gd name="T1" fmla="*/ 2 h 10"/>
                <a:gd name="T2" fmla="*/ 0 w 14"/>
                <a:gd name="T3" fmla="*/ 5 h 10"/>
                <a:gd name="T4" fmla="*/ 6 w 14"/>
                <a:gd name="T5" fmla="*/ 9 h 10"/>
                <a:gd name="T6" fmla="*/ 14 w 14"/>
                <a:gd name="T7" fmla="*/ 6 h 10"/>
                <a:gd name="T8" fmla="*/ 7 w 14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7" y="2"/>
                  </a:moveTo>
                  <a:cubicBezTo>
                    <a:pt x="7" y="2"/>
                    <a:pt x="1" y="0"/>
                    <a:pt x="0" y="5"/>
                  </a:cubicBezTo>
                  <a:cubicBezTo>
                    <a:pt x="0" y="5"/>
                    <a:pt x="0" y="8"/>
                    <a:pt x="6" y="9"/>
                  </a:cubicBezTo>
                  <a:cubicBezTo>
                    <a:pt x="11" y="10"/>
                    <a:pt x="13" y="9"/>
                    <a:pt x="14" y="6"/>
                  </a:cubicBezTo>
                  <a:cubicBezTo>
                    <a:pt x="14" y="4"/>
                    <a:pt x="10" y="2"/>
                    <a:pt x="7" y="2"/>
                  </a:cubicBez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1" name="椭圆 170">
              <a:extLst>
                <a:ext uri="{FF2B5EF4-FFF2-40B4-BE49-F238E27FC236}">
                  <a16:creationId xmlns:a16="http://schemas.microsoft.com/office/drawing/2014/main" id="{9FD731B0-38DB-444D-9B08-2EA8E69F3E14}"/>
                </a:ext>
              </a:extLst>
            </p:cNvPr>
            <p:cNvSpPr/>
            <p:nvPr userDrawn="1"/>
          </p:nvSpPr>
          <p:spPr bwMode="auto">
            <a:xfrm>
              <a:off x="2197685" y="3291275"/>
              <a:ext cx="36593" cy="36593"/>
            </a:xfrm>
            <a:prstGeom prst="ellipse">
              <a:avLst/>
            </a:prstGeom>
            <a:solidFill>
              <a:srgbClr val="201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2" name="椭圆 171">
              <a:extLst>
                <a:ext uri="{FF2B5EF4-FFF2-40B4-BE49-F238E27FC236}">
                  <a16:creationId xmlns:a16="http://schemas.microsoft.com/office/drawing/2014/main" id="{51762039-470A-444D-A900-E5320E8D454F}"/>
                </a:ext>
              </a:extLst>
            </p:cNvPr>
            <p:cNvSpPr/>
            <p:nvPr userDrawn="1"/>
          </p:nvSpPr>
          <p:spPr bwMode="auto">
            <a:xfrm>
              <a:off x="2339175" y="3303472"/>
              <a:ext cx="26835" cy="29274"/>
            </a:xfrm>
            <a:prstGeom prst="ellipse">
              <a:avLst/>
            </a:prstGeom>
            <a:solidFill>
              <a:srgbClr val="201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B66FBF50-9B81-4D1A-BC85-137F2ECCF8B7}"/>
                </a:ext>
              </a:extLst>
            </p:cNvPr>
            <p:cNvSpPr/>
            <p:nvPr userDrawn="1"/>
          </p:nvSpPr>
          <p:spPr bwMode="auto">
            <a:xfrm>
              <a:off x="2212322" y="3418128"/>
              <a:ext cx="102459" cy="31714"/>
            </a:xfrm>
            <a:custGeom>
              <a:avLst/>
              <a:gdLst>
                <a:gd name="T0" fmla="*/ 0 w 20"/>
                <a:gd name="T1" fmla="*/ 0 h 6"/>
                <a:gd name="T2" fmla="*/ 19 w 20"/>
                <a:gd name="T3" fmla="*/ 0 h 6"/>
                <a:gd name="T4" fmla="*/ 1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20" y="6"/>
                    <a:pt x="10" y="6"/>
                  </a:cubicBezTo>
                  <a:cubicBezTo>
                    <a:pt x="0" y="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D8AD672D-52B9-4CDA-86B1-E83B44119E8E}"/>
                </a:ext>
              </a:extLst>
            </p:cNvPr>
            <p:cNvSpPr/>
            <p:nvPr userDrawn="1"/>
          </p:nvSpPr>
          <p:spPr bwMode="auto">
            <a:xfrm>
              <a:off x="1975691" y="2979021"/>
              <a:ext cx="253707" cy="287859"/>
            </a:xfrm>
            <a:custGeom>
              <a:avLst/>
              <a:gdLst>
                <a:gd name="T0" fmla="*/ 16 w 50"/>
                <a:gd name="T1" fmla="*/ 57 h 57"/>
                <a:gd name="T2" fmla="*/ 50 w 50"/>
                <a:gd name="T3" fmla="*/ 22 h 57"/>
                <a:gd name="T4" fmla="*/ 47 w 50"/>
                <a:gd name="T5" fmla="*/ 5 h 57"/>
                <a:gd name="T6" fmla="*/ 9 w 50"/>
                <a:gd name="T7" fmla="*/ 49 h 57"/>
                <a:gd name="T8" fmla="*/ 16 w 50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7">
                  <a:moveTo>
                    <a:pt x="16" y="57"/>
                  </a:moveTo>
                  <a:cubicBezTo>
                    <a:pt x="16" y="57"/>
                    <a:pt x="42" y="51"/>
                    <a:pt x="50" y="22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0" y="0"/>
                    <a:pt x="9" y="49"/>
                  </a:cubicBezTo>
                  <a:lnTo>
                    <a:pt x="16" y="57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A9F91639-9AD3-4D16-B506-1C69DE541E56}"/>
                </a:ext>
              </a:extLst>
            </p:cNvPr>
            <p:cNvSpPr/>
            <p:nvPr userDrawn="1"/>
          </p:nvSpPr>
          <p:spPr bwMode="auto">
            <a:xfrm>
              <a:off x="2158654" y="2979021"/>
              <a:ext cx="319573" cy="236631"/>
            </a:xfrm>
            <a:custGeom>
              <a:avLst/>
              <a:gdLst>
                <a:gd name="T0" fmla="*/ 0 w 63"/>
                <a:gd name="T1" fmla="*/ 24 h 47"/>
                <a:gd name="T2" fmla="*/ 60 w 63"/>
                <a:gd name="T3" fmla="*/ 47 h 47"/>
                <a:gd name="T4" fmla="*/ 11 w 63"/>
                <a:gd name="T5" fmla="*/ 5 h 47"/>
                <a:gd name="T6" fmla="*/ 0 w 63"/>
                <a:gd name="T7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47">
                  <a:moveTo>
                    <a:pt x="0" y="24"/>
                  </a:moveTo>
                  <a:cubicBezTo>
                    <a:pt x="0" y="24"/>
                    <a:pt x="15" y="43"/>
                    <a:pt x="60" y="47"/>
                  </a:cubicBezTo>
                  <a:cubicBezTo>
                    <a:pt x="60" y="47"/>
                    <a:pt x="63" y="0"/>
                    <a:pt x="11" y="5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23248A3F-8FA7-4DC9-B5EA-1AAA8E7D3959}"/>
                </a:ext>
              </a:extLst>
            </p:cNvPr>
            <p:cNvSpPr/>
            <p:nvPr userDrawn="1"/>
          </p:nvSpPr>
          <p:spPr bwMode="auto">
            <a:xfrm>
              <a:off x="2031800" y="2947307"/>
              <a:ext cx="212236" cy="70746"/>
            </a:xfrm>
            <a:custGeom>
              <a:avLst/>
              <a:gdLst>
                <a:gd name="T0" fmla="*/ 0 w 42"/>
                <a:gd name="T1" fmla="*/ 14 h 14"/>
                <a:gd name="T2" fmla="*/ 21 w 42"/>
                <a:gd name="T3" fmla="*/ 3 h 14"/>
                <a:gd name="T4" fmla="*/ 42 w 42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4">
                  <a:moveTo>
                    <a:pt x="0" y="14"/>
                  </a:moveTo>
                  <a:cubicBezTo>
                    <a:pt x="0" y="14"/>
                    <a:pt x="10" y="5"/>
                    <a:pt x="21" y="3"/>
                  </a:cubicBezTo>
                  <a:cubicBezTo>
                    <a:pt x="34" y="0"/>
                    <a:pt x="42" y="3"/>
                    <a:pt x="42" y="3"/>
                  </a:cubicBez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7929D5AF-904E-4072-97D5-0C55C6C2708E}"/>
                </a:ext>
              </a:extLst>
            </p:cNvPr>
            <p:cNvSpPr/>
            <p:nvPr userDrawn="1"/>
          </p:nvSpPr>
          <p:spPr bwMode="auto">
            <a:xfrm>
              <a:off x="2031800" y="3191256"/>
              <a:ext cx="70746" cy="131733"/>
            </a:xfrm>
            <a:custGeom>
              <a:avLst/>
              <a:gdLst>
                <a:gd name="T0" fmla="*/ 29 w 29"/>
                <a:gd name="T1" fmla="*/ 19 h 54"/>
                <a:gd name="T2" fmla="*/ 6 w 29"/>
                <a:gd name="T3" fmla="*/ 54 h 54"/>
                <a:gd name="T4" fmla="*/ 0 w 29"/>
                <a:gd name="T5" fmla="*/ 0 h 54"/>
                <a:gd name="T6" fmla="*/ 29 w 29"/>
                <a:gd name="T7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9" y="19"/>
                  </a:moveTo>
                  <a:lnTo>
                    <a:pt x="6" y="54"/>
                  </a:lnTo>
                  <a:lnTo>
                    <a:pt x="0" y="0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rgbClr val="FE5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BFFD0992-F6A4-4169-AAEF-F8B52FD62A72}"/>
                </a:ext>
              </a:extLst>
            </p:cNvPr>
            <p:cNvSpPr/>
            <p:nvPr userDrawn="1"/>
          </p:nvSpPr>
          <p:spPr bwMode="auto">
            <a:xfrm>
              <a:off x="1924462" y="3215650"/>
              <a:ext cx="151248" cy="153689"/>
            </a:xfrm>
            <a:custGeom>
              <a:avLst/>
              <a:gdLst>
                <a:gd name="T0" fmla="*/ 1 w 30"/>
                <a:gd name="T1" fmla="*/ 14 h 30"/>
                <a:gd name="T2" fmla="*/ 13 w 30"/>
                <a:gd name="T3" fmla="*/ 29 h 30"/>
                <a:gd name="T4" fmla="*/ 29 w 30"/>
                <a:gd name="T5" fmla="*/ 17 h 30"/>
                <a:gd name="T6" fmla="*/ 17 w 30"/>
                <a:gd name="T7" fmla="*/ 1 h 30"/>
                <a:gd name="T8" fmla="*/ 1 w 30"/>
                <a:gd name="T9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1" y="14"/>
                  </a:moveTo>
                  <a:cubicBezTo>
                    <a:pt x="0" y="21"/>
                    <a:pt x="5" y="29"/>
                    <a:pt x="13" y="29"/>
                  </a:cubicBezTo>
                  <a:cubicBezTo>
                    <a:pt x="21" y="30"/>
                    <a:pt x="28" y="25"/>
                    <a:pt x="29" y="17"/>
                  </a:cubicBezTo>
                  <a:cubicBezTo>
                    <a:pt x="30" y="9"/>
                    <a:pt x="24" y="2"/>
                    <a:pt x="17" y="1"/>
                  </a:cubicBezTo>
                  <a:cubicBezTo>
                    <a:pt x="9" y="0"/>
                    <a:pt x="2" y="6"/>
                    <a:pt x="1" y="14"/>
                  </a:cubicBez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3624C76A-C6B3-41FF-906E-DC73768C900D}"/>
                </a:ext>
              </a:extLst>
            </p:cNvPr>
            <p:cNvSpPr/>
            <p:nvPr userDrawn="1"/>
          </p:nvSpPr>
          <p:spPr bwMode="auto">
            <a:xfrm>
              <a:off x="1980570" y="3266880"/>
              <a:ext cx="51230" cy="51230"/>
            </a:xfrm>
            <a:custGeom>
              <a:avLst/>
              <a:gdLst>
                <a:gd name="T0" fmla="*/ 8 w 10"/>
                <a:gd name="T1" fmla="*/ 10 h 10"/>
                <a:gd name="T2" fmla="*/ 0 w 10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10">
                  <a:moveTo>
                    <a:pt x="8" y="10"/>
                  </a:moveTo>
                  <a:cubicBezTo>
                    <a:pt x="8" y="10"/>
                    <a:pt x="10" y="0"/>
                    <a:pt x="0" y="0"/>
                  </a:cubicBezTo>
                </a:path>
              </a:pathLst>
            </a:custGeom>
            <a:noFill/>
            <a:ln w="6350" cap="rnd">
              <a:solidFill>
                <a:srgbClr val="201D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30462EFD-81EA-431D-A365-CF18E175C99E}"/>
                </a:ext>
              </a:extLst>
            </p:cNvPr>
            <p:cNvSpPr/>
            <p:nvPr userDrawn="1"/>
          </p:nvSpPr>
          <p:spPr bwMode="auto">
            <a:xfrm>
              <a:off x="1943978" y="3605968"/>
              <a:ext cx="422032" cy="178083"/>
            </a:xfrm>
            <a:custGeom>
              <a:avLst/>
              <a:gdLst>
                <a:gd name="T0" fmla="*/ 0 w 83"/>
                <a:gd name="T1" fmla="*/ 10 h 35"/>
                <a:gd name="T2" fmla="*/ 41 w 83"/>
                <a:gd name="T3" fmla="*/ 32 h 35"/>
                <a:gd name="T4" fmla="*/ 76 w 83"/>
                <a:gd name="T5" fmla="*/ 21 h 35"/>
                <a:gd name="T6" fmla="*/ 83 w 83"/>
                <a:gd name="T7" fmla="*/ 11 h 35"/>
                <a:gd name="T8" fmla="*/ 51 w 83"/>
                <a:gd name="T9" fmla="*/ 0 h 35"/>
                <a:gd name="T10" fmla="*/ 24 w 83"/>
                <a:gd name="T11" fmla="*/ 2 h 35"/>
                <a:gd name="T12" fmla="*/ 0 w 83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35">
                  <a:moveTo>
                    <a:pt x="0" y="10"/>
                  </a:moveTo>
                  <a:cubicBezTo>
                    <a:pt x="0" y="10"/>
                    <a:pt x="13" y="26"/>
                    <a:pt x="41" y="32"/>
                  </a:cubicBezTo>
                  <a:cubicBezTo>
                    <a:pt x="54" y="35"/>
                    <a:pt x="67" y="31"/>
                    <a:pt x="76" y="21"/>
                  </a:cubicBezTo>
                  <a:cubicBezTo>
                    <a:pt x="79" y="18"/>
                    <a:pt x="83" y="14"/>
                    <a:pt x="83" y="11"/>
                  </a:cubicBezTo>
                  <a:cubicBezTo>
                    <a:pt x="83" y="11"/>
                    <a:pt x="58" y="0"/>
                    <a:pt x="51" y="0"/>
                  </a:cubicBezTo>
                  <a:cubicBezTo>
                    <a:pt x="24" y="2"/>
                    <a:pt x="24" y="2"/>
                    <a:pt x="24" y="2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C9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BC4C7C94-D9FD-4EAF-9A97-B44FE50D71E7}"/>
                </a:ext>
              </a:extLst>
            </p:cNvPr>
            <p:cNvSpPr/>
            <p:nvPr userDrawn="1"/>
          </p:nvSpPr>
          <p:spPr bwMode="auto">
            <a:xfrm>
              <a:off x="3554041" y="4554930"/>
              <a:ext cx="1009948" cy="1563713"/>
            </a:xfrm>
            <a:custGeom>
              <a:avLst/>
              <a:gdLst>
                <a:gd name="T0" fmla="*/ 0 w 414"/>
                <a:gd name="T1" fmla="*/ 641 h 641"/>
                <a:gd name="T2" fmla="*/ 206 w 414"/>
                <a:gd name="T3" fmla="*/ 0 h 641"/>
                <a:gd name="T4" fmla="*/ 414 w 414"/>
                <a:gd name="T5" fmla="*/ 633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641">
                  <a:moveTo>
                    <a:pt x="0" y="641"/>
                  </a:moveTo>
                  <a:lnTo>
                    <a:pt x="206" y="0"/>
                  </a:lnTo>
                  <a:lnTo>
                    <a:pt x="414" y="633"/>
                  </a:lnTo>
                </a:path>
              </a:pathLst>
            </a:cu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1941753E-8EAE-423D-AAEB-C744A3039CB9}"/>
                </a:ext>
              </a:extLst>
            </p:cNvPr>
            <p:cNvSpPr/>
            <p:nvPr userDrawn="1"/>
          </p:nvSpPr>
          <p:spPr bwMode="auto">
            <a:xfrm>
              <a:off x="1263360" y="4554930"/>
              <a:ext cx="1009948" cy="1563713"/>
            </a:xfrm>
            <a:custGeom>
              <a:avLst/>
              <a:gdLst>
                <a:gd name="T0" fmla="*/ 0 w 414"/>
                <a:gd name="T1" fmla="*/ 641 h 641"/>
                <a:gd name="T2" fmla="*/ 204 w 414"/>
                <a:gd name="T3" fmla="*/ 0 h 641"/>
                <a:gd name="T4" fmla="*/ 414 w 414"/>
                <a:gd name="T5" fmla="*/ 633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641">
                  <a:moveTo>
                    <a:pt x="0" y="641"/>
                  </a:moveTo>
                  <a:lnTo>
                    <a:pt x="204" y="0"/>
                  </a:lnTo>
                  <a:lnTo>
                    <a:pt x="414" y="633"/>
                  </a:lnTo>
                </a:path>
              </a:pathLst>
            </a:custGeom>
            <a:noFill/>
            <a:ln w="14288" cap="flat">
              <a:solidFill>
                <a:srgbClr val="2130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3" name="矩形 182">
              <a:extLst>
                <a:ext uri="{FF2B5EF4-FFF2-40B4-BE49-F238E27FC236}">
                  <a16:creationId xmlns:a16="http://schemas.microsoft.com/office/drawing/2014/main" id="{A784F009-7601-4E5B-9E5B-132F10E0FBD1}"/>
                </a:ext>
              </a:extLst>
            </p:cNvPr>
            <p:cNvSpPr/>
            <p:nvPr userDrawn="1"/>
          </p:nvSpPr>
          <p:spPr bwMode="auto">
            <a:xfrm>
              <a:off x="1097475" y="4493942"/>
              <a:ext cx="1414904" cy="126853"/>
            </a:xfrm>
            <a:prstGeom prst="rect">
              <a:avLst/>
            </a:prstGeom>
            <a:solidFill>
              <a:srgbClr val="111D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4" name="矩形 183">
              <a:extLst>
                <a:ext uri="{FF2B5EF4-FFF2-40B4-BE49-F238E27FC236}">
                  <a16:creationId xmlns:a16="http://schemas.microsoft.com/office/drawing/2014/main" id="{FB840163-EBEA-403A-B892-91BBEDC01EDB}"/>
                </a:ext>
              </a:extLst>
            </p:cNvPr>
            <p:cNvSpPr/>
            <p:nvPr userDrawn="1"/>
          </p:nvSpPr>
          <p:spPr bwMode="auto">
            <a:xfrm>
              <a:off x="2483105" y="4493942"/>
              <a:ext cx="2405335" cy="126853"/>
            </a:xfrm>
            <a:prstGeom prst="rect">
              <a:avLst/>
            </a:prstGeom>
            <a:solidFill>
              <a:srgbClr val="2438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13CE21BF-B2ED-4A40-BE09-415D1521E823}"/>
                </a:ext>
              </a:extLst>
            </p:cNvPr>
            <p:cNvSpPr/>
            <p:nvPr userDrawn="1"/>
          </p:nvSpPr>
          <p:spPr bwMode="auto">
            <a:xfrm>
              <a:off x="2924653" y="4445153"/>
              <a:ext cx="668419" cy="48789"/>
            </a:xfrm>
            <a:custGeom>
              <a:avLst/>
              <a:gdLst>
                <a:gd name="T0" fmla="*/ 5 w 132"/>
                <a:gd name="T1" fmla="*/ 0 h 10"/>
                <a:gd name="T2" fmla="*/ 127 w 132"/>
                <a:gd name="T3" fmla="*/ 0 h 10"/>
                <a:gd name="T4" fmla="*/ 132 w 132"/>
                <a:gd name="T5" fmla="*/ 5 h 10"/>
                <a:gd name="T6" fmla="*/ 132 w 132"/>
                <a:gd name="T7" fmla="*/ 5 h 10"/>
                <a:gd name="T8" fmla="*/ 127 w 132"/>
                <a:gd name="T9" fmla="*/ 10 h 10"/>
                <a:gd name="T10" fmla="*/ 5 w 132"/>
                <a:gd name="T11" fmla="*/ 10 h 10"/>
                <a:gd name="T12" fmla="*/ 0 w 132"/>
                <a:gd name="T13" fmla="*/ 5 h 10"/>
                <a:gd name="T14" fmla="*/ 0 w 132"/>
                <a:gd name="T15" fmla="*/ 5 h 10"/>
                <a:gd name="T16" fmla="*/ 5 w 132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" h="10">
                  <a:moveTo>
                    <a:pt x="5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2" y="2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2" y="8"/>
                    <a:pt x="130" y="10"/>
                    <a:pt x="127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9A53BF7B-1A43-4E4E-9EBA-45BBBE3AFCFE}"/>
                </a:ext>
              </a:extLst>
            </p:cNvPr>
            <p:cNvSpPr/>
            <p:nvPr userDrawn="1"/>
          </p:nvSpPr>
          <p:spPr bwMode="auto">
            <a:xfrm>
              <a:off x="2605079" y="4445153"/>
              <a:ext cx="497656" cy="48789"/>
            </a:xfrm>
            <a:custGeom>
              <a:avLst/>
              <a:gdLst>
                <a:gd name="T0" fmla="*/ 5 w 98"/>
                <a:gd name="T1" fmla="*/ 0 h 10"/>
                <a:gd name="T2" fmla="*/ 93 w 98"/>
                <a:gd name="T3" fmla="*/ 0 h 10"/>
                <a:gd name="T4" fmla="*/ 98 w 98"/>
                <a:gd name="T5" fmla="*/ 5 h 10"/>
                <a:gd name="T6" fmla="*/ 98 w 98"/>
                <a:gd name="T7" fmla="*/ 5 h 10"/>
                <a:gd name="T8" fmla="*/ 93 w 98"/>
                <a:gd name="T9" fmla="*/ 10 h 10"/>
                <a:gd name="T10" fmla="*/ 5 w 98"/>
                <a:gd name="T11" fmla="*/ 10 h 10"/>
                <a:gd name="T12" fmla="*/ 0 w 98"/>
                <a:gd name="T13" fmla="*/ 5 h 10"/>
                <a:gd name="T14" fmla="*/ 0 w 98"/>
                <a:gd name="T15" fmla="*/ 5 h 10"/>
                <a:gd name="T16" fmla="*/ 5 w 98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0">
                  <a:moveTo>
                    <a:pt x="5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8" y="2"/>
                    <a:pt x="98" y="5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8" y="8"/>
                    <a:pt x="96" y="10"/>
                    <a:pt x="93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4EB7A8E3-E292-41EC-9843-77FC7CD29C32}"/>
                </a:ext>
              </a:extLst>
            </p:cNvPr>
            <p:cNvSpPr/>
            <p:nvPr userDrawn="1"/>
          </p:nvSpPr>
          <p:spPr bwMode="auto">
            <a:xfrm>
              <a:off x="2973443" y="3303472"/>
              <a:ext cx="1422223" cy="953841"/>
            </a:xfrm>
            <a:custGeom>
              <a:avLst/>
              <a:gdLst>
                <a:gd name="T0" fmla="*/ 11 w 280"/>
                <a:gd name="T1" fmla="*/ 188 h 188"/>
                <a:gd name="T2" fmla="*/ 269 w 280"/>
                <a:gd name="T3" fmla="*/ 188 h 188"/>
                <a:gd name="T4" fmla="*/ 280 w 280"/>
                <a:gd name="T5" fmla="*/ 177 h 188"/>
                <a:gd name="T6" fmla="*/ 280 w 280"/>
                <a:gd name="T7" fmla="*/ 12 h 188"/>
                <a:gd name="T8" fmla="*/ 269 w 280"/>
                <a:gd name="T9" fmla="*/ 0 h 188"/>
                <a:gd name="T10" fmla="*/ 11 w 280"/>
                <a:gd name="T11" fmla="*/ 0 h 188"/>
                <a:gd name="T12" fmla="*/ 0 w 280"/>
                <a:gd name="T13" fmla="*/ 12 h 188"/>
                <a:gd name="T14" fmla="*/ 0 w 280"/>
                <a:gd name="T15" fmla="*/ 177 h 188"/>
                <a:gd name="T16" fmla="*/ 11 w 280"/>
                <a:gd name="T1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188">
                  <a:moveTo>
                    <a:pt x="11" y="188"/>
                  </a:moveTo>
                  <a:cubicBezTo>
                    <a:pt x="269" y="188"/>
                    <a:pt x="269" y="188"/>
                    <a:pt x="269" y="188"/>
                  </a:cubicBezTo>
                  <a:cubicBezTo>
                    <a:pt x="275" y="188"/>
                    <a:pt x="280" y="183"/>
                    <a:pt x="280" y="177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6"/>
                    <a:pt x="275" y="0"/>
                    <a:pt x="26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3"/>
                    <a:pt x="5" y="188"/>
                    <a:pt x="11" y="188"/>
                  </a:cubicBezTo>
                  <a:close/>
                </a:path>
              </a:pathLst>
            </a:custGeom>
            <a:solidFill>
              <a:srgbClr val="273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95987E4B-F75F-4720-BA14-0789D95B6816}"/>
                </a:ext>
              </a:extLst>
            </p:cNvPr>
            <p:cNvSpPr/>
            <p:nvPr userDrawn="1"/>
          </p:nvSpPr>
          <p:spPr bwMode="auto">
            <a:xfrm>
              <a:off x="3005155" y="3303472"/>
              <a:ext cx="1419782" cy="953841"/>
            </a:xfrm>
            <a:custGeom>
              <a:avLst/>
              <a:gdLst>
                <a:gd name="T0" fmla="*/ 11 w 280"/>
                <a:gd name="T1" fmla="*/ 188 h 188"/>
                <a:gd name="T2" fmla="*/ 269 w 280"/>
                <a:gd name="T3" fmla="*/ 188 h 188"/>
                <a:gd name="T4" fmla="*/ 280 w 280"/>
                <a:gd name="T5" fmla="*/ 177 h 188"/>
                <a:gd name="T6" fmla="*/ 280 w 280"/>
                <a:gd name="T7" fmla="*/ 12 h 188"/>
                <a:gd name="T8" fmla="*/ 269 w 280"/>
                <a:gd name="T9" fmla="*/ 0 h 188"/>
                <a:gd name="T10" fmla="*/ 11 w 280"/>
                <a:gd name="T11" fmla="*/ 0 h 188"/>
                <a:gd name="T12" fmla="*/ 0 w 280"/>
                <a:gd name="T13" fmla="*/ 12 h 188"/>
                <a:gd name="T14" fmla="*/ 0 w 280"/>
                <a:gd name="T15" fmla="*/ 177 h 188"/>
                <a:gd name="T16" fmla="*/ 11 w 280"/>
                <a:gd name="T1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0" h="188">
                  <a:moveTo>
                    <a:pt x="11" y="188"/>
                  </a:moveTo>
                  <a:cubicBezTo>
                    <a:pt x="269" y="188"/>
                    <a:pt x="269" y="188"/>
                    <a:pt x="269" y="188"/>
                  </a:cubicBezTo>
                  <a:cubicBezTo>
                    <a:pt x="275" y="188"/>
                    <a:pt x="280" y="183"/>
                    <a:pt x="280" y="177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6"/>
                    <a:pt x="275" y="0"/>
                    <a:pt x="26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3"/>
                    <a:pt x="5" y="188"/>
                    <a:pt x="11" y="188"/>
                  </a:cubicBezTo>
                  <a:close/>
                </a:path>
              </a:pathLst>
            </a:custGeom>
            <a:solidFill>
              <a:srgbClr val="2732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E52856A3-D172-45A7-9B32-C5FB136EC589}"/>
                </a:ext>
              </a:extLst>
            </p:cNvPr>
            <p:cNvSpPr/>
            <p:nvPr userDrawn="1"/>
          </p:nvSpPr>
          <p:spPr bwMode="auto">
            <a:xfrm>
              <a:off x="3283256" y="3749899"/>
              <a:ext cx="492777" cy="507413"/>
            </a:xfrm>
            <a:custGeom>
              <a:avLst/>
              <a:gdLst>
                <a:gd name="T0" fmla="*/ 140 w 202"/>
                <a:gd name="T1" fmla="*/ 0 h 208"/>
                <a:gd name="T2" fmla="*/ 0 w 202"/>
                <a:gd name="T3" fmla="*/ 208 h 208"/>
                <a:gd name="T4" fmla="*/ 202 w 202"/>
                <a:gd name="T5" fmla="*/ 208 h 208"/>
                <a:gd name="T6" fmla="*/ 140 w 202"/>
                <a:gd name="T7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2" h="208">
                  <a:moveTo>
                    <a:pt x="140" y="0"/>
                  </a:moveTo>
                  <a:lnTo>
                    <a:pt x="0" y="208"/>
                  </a:lnTo>
                  <a:lnTo>
                    <a:pt x="202" y="208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090B0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89CB0F3C-A6E1-4855-830D-9605FA845A5D}"/>
                </a:ext>
              </a:extLst>
            </p:cNvPr>
            <p:cNvSpPr/>
            <p:nvPr userDrawn="1"/>
          </p:nvSpPr>
          <p:spPr bwMode="auto">
            <a:xfrm>
              <a:off x="3615027" y="3732822"/>
              <a:ext cx="441548" cy="761121"/>
            </a:xfrm>
            <a:custGeom>
              <a:avLst/>
              <a:gdLst>
                <a:gd name="T0" fmla="*/ 50 w 87"/>
                <a:gd name="T1" fmla="*/ 0 h 150"/>
                <a:gd name="T2" fmla="*/ 7 w 87"/>
                <a:gd name="T3" fmla="*/ 0 h 150"/>
                <a:gd name="T4" fmla="*/ 1 w 87"/>
                <a:gd name="T5" fmla="*/ 7 h 150"/>
                <a:gd name="T6" fmla="*/ 29 w 87"/>
                <a:gd name="T7" fmla="*/ 145 h 150"/>
                <a:gd name="T8" fmla="*/ 35 w 87"/>
                <a:gd name="T9" fmla="*/ 150 h 150"/>
                <a:gd name="T10" fmla="*/ 80 w 87"/>
                <a:gd name="T11" fmla="*/ 150 h 150"/>
                <a:gd name="T12" fmla="*/ 86 w 87"/>
                <a:gd name="T13" fmla="*/ 143 h 150"/>
                <a:gd name="T14" fmla="*/ 56 w 87"/>
                <a:gd name="T15" fmla="*/ 5 h 150"/>
                <a:gd name="T16" fmla="*/ 50 w 87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150">
                  <a:moveTo>
                    <a:pt x="5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1" y="7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30" y="148"/>
                    <a:pt x="32" y="150"/>
                    <a:pt x="35" y="150"/>
                  </a:cubicBezTo>
                  <a:cubicBezTo>
                    <a:pt x="80" y="150"/>
                    <a:pt x="80" y="150"/>
                    <a:pt x="80" y="150"/>
                  </a:cubicBezTo>
                  <a:cubicBezTo>
                    <a:pt x="84" y="150"/>
                    <a:pt x="87" y="146"/>
                    <a:pt x="86" y="143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2"/>
                    <a:pt x="53" y="0"/>
                    <a:pt x="50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955CBD55-69A5-4BB2-8E06-A7F35B8D1724}"/>
                </a:ext>
              </a:extLst>
            </p:cNvPr>
            <p:cNvSpPr/>
            <p:nvPr userDrawn="1"/>
          </p:nvSpPr>
          <p:spPr bwMode="auto">
            <a:xfrm>
              <a:off x="3522326" y="4445153"/>
              <a:ext cx="431790" cy="48789"/>
            </a:xfrm>
            <a:custGeom>
              <a:avLst/>
              <a:gdLst>
                <a:gd name="T0" fmla="*/ 5 w 85"/>
                <a:gd name="T1" fmla="*/ 0 h 10"/>
                <a:gd name="T2" fmla="*/ 85 w 85"/>
                <a:gd name="T3" fmla="*/ 0 h 10"/>
                <a:gd name="T4" fmla="*/ 85 w 85"/>
                <a:gd name="T5" fmla="*/ 10 h 10"/>
                <a:gd name="T6" fmla="*/ 5 w 85"/>
                <a:gd name="T7" fmla="*/ 10 h 10"/>
                <a:gd name="T8" fmla="*/ 0 w 85"/>
                <a:gd name="T9" fmla="*/ 5 h 10"/>
                <a:gd name="T10" fmla="*/ 0 w 85"/>
                <a:gd name="T11" fmla="*/ 5 h 10"/>
                <a:gd name="T12" fmla="*/ 5 w 8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10">
                  <a:moveTo>
                    <a:pt x="5" y="0"/>
                  </a:moveTo>
                  <a:cubicBezTo>
                    <a:pt x="85" y="0"/>
                    <a:pt x="85" y="0"/>
                    <a:pt x="85" y="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rgbClr val="3D50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tx1"/>
                </a:solidFill>
              </a:endParaRPr>
            </a:p>
          </p:txBody>
        </p:sp>
        <p:grpSp>
          <p:nvGrpSpPr>
            <p:cNvPr id="192" name="组合 191">
              <a:extLst>
                <a:ext uri="{FF2B5EF4-FFF2-40B4-BE49-F238E27FC236}">
                  <a16:creationId xmlns:a16="http://schemas.microsoft.com/office/drawing/2014/main" id="{A4DB3B90-C671-4F7A-A8CA-FB7114AEEB51}"/>
                </a:ext>
              </a:extLst>
            </p:cNvPr>
            <p:cNvGrpSpPr/>
            <p:nvPr userDrawn="1"/>
          </p:nvGrpSpPr>
          <p:grpSpPr>
            <a:xfrm>
              <a:off x="663550" y="4783617"/>
              <a:ext cx="730324" cy="1353658"/>
              <a:chOff x="1696676" y="5775514"/>
              <a:chExt cx="1246187" cy="2309812"/>
            </a:xfrm>
          </p:grpSpPr>
          <p:sp>
            <p:nvSpPr>
              <p:cNvPr id="193" name="任意多边形: 形状 192">
                <a:extLst>
                  <a:ext uri="{FF2B5EF4-FFF2-40B4-BE49-F238E27FC236}">
                    <a16:creationId xmlns:a16="http://schemas.microsoft.com/office/drawing/2014/main" id="{83574CCF-C8D7-4B80-BB46-EE9236A38FC1}"/>
                  </a:ext>
                </a:extLst>
              </p:cNvPr>
              <p:cNvSpPr/>
              <p:nvPr userDrawn="1"/>
            </p:nvSpPr>
            <p:spPr bwMode="auto">
              <a:xfrm>
                <a:off x="2323738" y="6013639"/>
                <a:ext cx="619125" cy="1087438"/>
              </a:xfrm>
              <a:custGeom>
                <a:avLst/>
                <a:gdLst>
                  <a:gd name="T0" fmla="*/ 14 w 96"/>
                  <a:gd name="T1" fmla="*/ 169 h 169"/>
                  <a:gd name="T2" fmla="*/ 3 w 96"/>
                  <a:gd name="T3" fmla="*/ 120 h 169"/>
                  <a:gd name="T4" fmla="*/ 19 w 96"/>
                  <a:gd name="T5" fmla="*/ 82 h 169"/>
                  <a:gd name="T6" fmla="*/ 32 w 96"/>
                  <a:gd name="T7" fmla="*/ 43 h 169"/>
                  <a:gd name="T8" fmla="*/ 55 w 96"/>
                  <a:gd name="T9" fmla="*/ 14 h 169"/>
                  <a:gd name="T10" fmla="*/ 89 w 96"/>
                  <a:gd name="T11" fmla="*/ 33 h 169"/>
                  <a:gd name="T12" fmla="*/ 55 w 96"/>
                  <a:gd name="T13" fmla="*/ 76 h 169"/>
                  <a:gd name="T14" fmla="*/ 52 w 96"/>
                  <a:gd name="T15" fmla="*/ 126 h 169"/>
                  <a:gd name="T16" fmla="*/ 14 w 96"/>
                  <a:gd name="T17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6" h="169">
                    <a:moveTo>
                      <a:pt x="14" y="169"/>
                    </a:moveTo>
                    <a:cubicBezTo>
                      <a:pt x="14" y="169"/>
                      <a:pt x="0" y="140"/>
                      <a:pt x="3" y="120"/>
                    </a:cubicBezTo>
                    <a:cubicBezTo>
                      <a:pt x="6" y="101"/>
                      <a:pt x="23" y="105"/>
                      <a:pt x="19" y="82"/>
                    </a:cubicBezTo>
                    <a:cubicBezTo>
                      <a:pt x="14" y="59"/>
                      <a:pt x="18" y="45"/>
                      <a:pt x="32" y="43"/>
                    </a:cubicBezTo>
                    <a:cubicBezTo>
                      <a:pt x="46" y="41"/>
                      <a:pt x="46" y="29"/>
                      <a:pt x="55" y="14"/>
                    </a:cubicBezTo>
                    <a:cubicBezTo>
                      <a:pt x="64" y="0"/>
                      <a:pt x="96" y="4"/>
                      <a:pt x="89" y="33"/>
                    </a:cubicBezTo>
                    <a:cubicBezTo>
                      <a:pt x="81" y="72"/>
                      <a:pt x="62" y="61"/>
                      <a:pt x="55" y="76"/>
                    </a:cubicBezTo>
                    <a:cubicBezTo>
                      <a:pt x="49" y="92"/>
                      <a:pt x="61" y="110"/>
                      <a:pt x="52" y="126"/>
                    </a:cubicBezTo>
                    <a:cubicBezTo>
                      <a:pt x="43" y="143"/>
                      <a:pt x="25" y="135"/>
                      <a:pt x="14" y="169"/>
                    </a:cubicBezTo>
                    <a:close/>
                  </a:path>
                </a:pathLst>
              </a:custGeom>
              <a:solidFill>
                <a:srgbClr val="F15A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4" name="组合 193">
                <a:extLst>
                  <a:ext uri="{FF2B5EF4-FFF2-40B4-BE49-F238E27FC236}">
                    <a16:creationId xmlns:a16="http://schemas.microsoft.com/office/drawing/2014/main" id="{D4078E06-6E4B-4F31-869E-1E7A81CEF37E}"/>
                  </a:ext>
                </a:extLst>
              </p:cNvPr>
              <p:cNvGrpSpPr/>
              <p:nvPr userDrawn="1"/>
            </p:nvGrpSpPr>
            <p:grpSpPr>
              <a:xfrm>
                <a:off x="1696676" y="5775514"/>
                <a:ext cx="1136650" cy="2309812"/>
                <a:chOff x="1696676" y="5775514"/>
                <a:chExt cx="1136650" cy="2309812"/>
              </a:xfrm>
            </p:grpSpPr>
            <p:sp>
              <p:nvSpPr>
                <p:cNvPr id="195" name="任意多边形: 形状 194">
                  <a:extLst>
                    <a:ext uri="{FF2B5EF4-FFF2-40B4-BE49-F238E27FC236}">
                      <a16:creationId xmlns:a16="http://schemas.microsoft.com/office/drawing/2014/main" id="{24E4560D-6560-456B-A55F-3368AA0544F0}"/>
                    </a:ext>
                  </a:extLst>
                </p:cNvPr>
                <p:cNvSpPr/>
                <p:nvPr userDrawn="1"/>
              </p:nvSpPr>
              <p:spPr bwMode="auto">
                <a:xfrm>
                  <a:off x="1696676" y="5775514"/>
                  <a:ext cx="736600" cy="1285875"/>
                </a:xfrm>
                <a:custGeom>
                  <a:avLst/>
                  <a:gdLst>
                    <a:gd name="T0" fmla="*/ 97 w 114"/>
                    <a:gd name="T1" fmla="*/ 200 h 200"/>
                    <a:gd name="T2" fmla="*/ 110 w 114"/>
                    <a:gd name="T3" fmla="*/ 143 h 200"/>
                    <a:gd name="T4" fmla="*/ 91 w 114"/>
                    <a:gd name="T5" fmla="*/ 98 h 200"/>
                    <a:gd name="T6" fmla="*/ 75 w 114"/>
                    <a:gd name="T7" fmla="*/ 51 h 200"/>
                    <a:gd name="T8" fmla="*/ 48 w 114"/>
                    <a:gd name="T9" fmla="*/ 17 h 200"/>
                    <a:gd name="T10" fmla="*/ 7 w 114"/>
                    <a:gd name="T11" fmla="*/ 40 h 200"/>
                    <a:gd name="T12" fmla="*/ 48 w 114"/>
                    <a:gd name="T13" fmla="*/ 91 h 200"/>
                    <a:gd name="T14" fmla="*/ 52 w 114"/>
                    <a:gd name="T15" fmla="*/ 150 h 200"/>
                    <a:gd name="T16" fmla="*/ 97 w 114"/>
                    <a:gd name="T17" fmla="*/ 200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4" h="200">
                      <a:moveTo>
                        <a:pt x="97" y="200"/>
                      </a:moveTo>
                      <a:cubicBezTo>
                        <a:pt x="97" y="200"/>
                        <a:pt x="114" y="166"/>
                        <a:pt x="110" y="143"/>
                      </a:cubicBezTo>
                      <a:cubicBezTo>
                        <a:pt x="106" y="120"/>
                        <a:pt x="86" y="125"/>
                        <a:pt x="91" y="98"/>
                      </a:cubicBezTo>
                      <a:cubicBezTo>
                        <a:pt x="97" y="70"/>
                        <a:pt x="92" y="54"/>
                        <a:pt x="75" y="51"/>
                      </a:cubicBezTo>
                      <a:cubicBezTo>
                        <a:pt x="59" y="49"/>
                        <a:pt x="59" y="35"/>
                        <a:pt x="48" y="17"/>
                      </a:cubicBezTo>
                      <a:cubicBezTo>
                        <a:pt x="38" y="0"/>
                        <a:pt x="0" y="5"/>
                        <a:pt x="7" y="40"/>
                      </a:cubicBezTo>
                      <a:cubicBezTo>
                        <a:pt x="17" y="86"/>
                        <a:pt x="40" y="73"/>
                        <a:pt x="48" y="91"/>
                      </a:cubicBezTo>
                      <a:cubicBezTo>
                        <a:pt x="55" y="109"/>
                        <a:pt x="41" y="131"/>
                        <a:pt x="52" y="150"/>
                      </a:cubicBezTo>
                      <a:cubicBezTo>
                        <a:pt x="63" y="170"/>
                        <a:pt x="84" y="161"/>
                        <a:pt x="97" y="200"/>
                      </a:cubicBezTo>
                      <a:close/>
                    </a:path>
                  </a:pathLst>
                </a:custGeom>
                <a:solidFill>
                  <a:srgbClr val="F4B0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任意多边形: 形状 195">
                  <a:extLst>
                    <a:ext uri="{FF2B5EF4-FFF2-40B4-BE49-F238E27FC236}">
                      <a16:creationId xmlns:a16="http://schemas.microsoft.com/office/drawing/2014/main" id="{4EA273BF-6C58-4EDA-B1E6-0E3433A16FE9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5988239"/>
                  <a:ext cx="452438" cy="1292225"/>
                </a:xfrm>
                <a:custGeom>
                  <a:avLst/>
                  <a:gdLst>
                    <a:gd name="T0" fmla="*/ 67 w 70"/>
                    <a:gd name="T1" fmla="*/ 201 h 201"/>
                    <a:gd name="T2" fmla="*/ 65 w 70"/>
                    <a:gd name="T3" fmla="*/ 201 h 201"/>
                    <a:gd name="T4" fmla="*/ 62 w 70"/>
                    <a:gd name="T5" fmla="*/ 136 h 201"/>
                    <a:gd name="T6" fmla="*/ 0 w 70"/>
                    <a:gd name="T7" fmla="*/ 2 h 201"/>
                    <a:gd name="T8" fmla="*/ 2 w 70"/>
                    <a:gd name="T9" fmla="*/ 0 h 201"/>
                    <a:gd name="T10" fmla="*/ 64 w 70"/>
                    <a:gd name="T11" fmla="*/ 135 h 201"/>
                    <a:gd name="T12" fmla="*/ 67 w 70"/>
                    <a:gd name="T13" fmla="*/ 2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0" h="201">
                      <a:moveTo>
                        <a:pt x="67" y="201"/>
                      </a:moveTo>
                      <a:cubicBezTo>
                        <a:pt x="65" y="201"/>
                        <a:pt x="65" y="201"/>
                        <a:pt x="65" y="201"/>
                      </a:cubicBezTo>
                      <a:cubicBezTo>
                        <a:pt x="65" y="201"/>
                        <a:pt x="68" y="174"/>
                        <a:pt x="62" y="136"/>
                      </a:cubicBezTo>
                      <a:cubicBezTo>
                        <a:pt x="56" y="101"/>
                        <a:pt x="40" y="49"/>
                        <a:pt x="0" y="2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42" y="48"/>
                        <a:pt x="58" y="100"/>
                        <a:pt x="64" y="135"/>
                      </a:cubicBezTo>
                      <a:cubicBezTo>
                        <a:pt x="70" y="174"/>
                        <a:pt x="67" y="201"/>
                        <a:pt x="67" y="201"/>
                      </a:cubicBezTo>
                    </a:path>
                  </a:pathLst>
                </a:custGeom>
                <a:solidFill>
                  <a:srgbClr val="1B1B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7" name="任意多边形: 形状 196">
                  <a:extLst>
                    <a:ext uri="{FF2B5EF4-FFF2-40B4-BE49-F238E27FC236}">
                      <a16:creationId xmlns:a16="http://schemas.microsoft.com/office/drawing/2014/main" id="{E4AF554A-A1AC-4E4D-B4EF-B46CC7F3A181}"/>
                    </a:ext>
                  </a:extLst>
                </p:cNvPr>
                <p:cNvSpPr/>
                <p:nvPr userDrawn="1"/>
              </p:nvSpPr>
              <p:spPr bwMode="auto">
                <a:xfrm>
                  <a:off x="2387238" y="6193026"/>
                  <a:ext cx="381000" cy="1087438"/>
                </a:xfrm>
                <a:custGeom>
                  <a:avLst/>
                  <a:gdLst>
                    <a:gd name="T0" fmla="*/ 3 w 59"/>
                    <a:gd name="T1" fmla="*/ 169 h 169"/>
                    <a:gd name="T2" fmla="*/ 6 w 59"/>
                    <a:gd name="T3" fmla="*/ 114 h 169"/>
                    <a:gd name="T4" fmla="*/ 58 w 59"/>
                    <a:gd name="T5" fmla="*/ 0 h 169"/>
                    <a:gd name="T6" fmla="*/ 59 w 59"/>
                    <a:gd name="T7" fmla="*/ 1 h 169"/>
                    <a:gd name="T8" fmla="*/ 8 w 59"/>
                    <a:gd name="T9" fmla="*/ 114 h 169"/>
                    <a:gd name="T10" fmla="*/ 5 w 59"/>
                    <a:gd name="T11" fmla="*/ 169 h 169"/>
                    <a:gd name="T12" fmla="*/ 3 w 59"/>
                    <a:gd name="T13" fmla="*/ 169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69">
                      <a:moveTo>
                        <a:pt x="3" y="169"/>
                      </a:moveTo>
                      <a:cubicBezTo>
                        <a:pt x="3" y="169"/>
                        <a:pt x="0" y="146"/>
                        <a:pt x="6" y="114"/>
                      </a:cubicBezTo>
                      <a:cubicBezTo>
                        <a:pt x="11" y="84"/>
                        <a:pt x="24" y="40"/>
                        <a:pt x="58" y="0"/>
                      </a:cubicBezTo>
                      <a:cubicBezTo>
                        <a:pt x="59" y="1"/>
                        <a:pt x="59" y="1"/>
                        <a:pt x="59" y="1"/>
                      </a:cubicBezTo>
                      <a:cubicBezTo>
                        <a:pt x="25" y="41"/>
                        <a:pt x="13" y="84"/>
                        <a:pt x="8" y="114"/>
                      </a:cubicBezTo>
                      <a:cubicBezTo>
                        <a:pt x="2" y="146"/>
                        <a:pt x="5" y="169"/>
                        <a:pt x="5" y="169"/>
                      </a:cubicBezTo>
                      <a:cubicBezTo>
                        <a:pt x="3" y="169"/>
                        <a:pt x="3" y="169"/>
                        <a:pt x="3" y="169"/>
                      </a:cubicBezTo>
                    </a:path>
                  </a:pathLst>
                </a:custGeom>
                <a:solidFill>
                  <a:srgbClr val="1B1B3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8" name="任意多边形: 形状 197">
                  <a:extLst>
                    <a:ext uri="{FF2B5EF4-FFF2-40B4-BE49-F238E27FC236}">
                      <a16:creationId xmlns:a16="http://schemas.microsoft.com/office/drawing/2014/main" id="{8C854AAD-742C-4271-93B2-92E18DD15A0E}"/>
                    </a:ext>
                  </a:extLst>
                </p:cNvPr>
                <p:cNvSpPr/>
                <p:nvPr userDrawn="1"/>
              </p:nvSpPr>
              <p:spPr bwMode="auto">
                <a:xfrm>
                  <a:off x="1936388" y="7183626"/>
                  <a:ext cx="858838" cy="850900"/>
                </a:xfrm>
                <a:custGeom>
                  <a:avLst/>
                  <a:gdLst>
                    <a:gd name="T0" fmla="*/ 463 w 541"/>
                    <a:gd name="T1" fmla="*/ 536 h 536"/>
                    <a:gd name="T2" fmla="*/ 77 w 541"/>
                    <a:gd name="T3" fmla="*/ 536 h 536"/>
                    <a:gd name="T4" fmla="*/ 0 w 541"/>
                    <a:gd name="T5" fmla="*/ 0 h 536"/>
                    <a:gd name="T6" fmla="*/ 541 w 541"/>
                    <a:gd name="T7" fmla="*/ 0 h 536"/>
                    <a:gd name="T8" fmla="*/ 463 w 541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536">
                      <a:moveTo>
                        <a:pt x="463" y="536"/>
                      </a:moveTo>
                      <a:lnTo>
                        <a:pt x="77" y="536"/>
                      </a:lnTo>
                      <a:lnTo>
                        <a:pt x="0" y="0"/>
                      </a:lnTo>
                      <a:lnTo>
                        <a:pt x="541" y="0"/>
                      </a:lnTo>
                      <a:lnTo>
                        <a:pt x="463" y="536"/>
                      </a:lnTo>
                      <a:close/>
                    </a:path>
                  </a:pathLst>
                </a:cu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9" name="任意多边形: 形状 198">
                  <a:extLst>
                    <a:ext uri="{FF2B5EF4-FFF2-40B4-BE49-F238E27FC236}">
                      <a16:creationId xmlns:a16="http://schemas.microsoft.com/office/drawing/2014/main" id="{702A89DA-EA2A-4549-B23F-FE9DF2926A14}"/>
                    </a:ext>
                  </a:extLst>
                </p:cNvPr>
                <p:cNvSpPr/>
                <p:nvPr userDrawn="1"/>
              </p:nvSpPr>
              <p:spPr bwMode="auto">
                <a:xfrm>
                  <a:off x="1936388" y="7183626"/>
                  <a:ext cx="858838" cy="850900"/>
                </a:xfrm>
                <a:custGeom>
                  <a:avLst/>
                  <a:gdLst>
                    <a:gd name="T0" fmla="*/ 463 w 541"/>
                    <a:gd name="T1" fmla="*/ 536 h 536"/>
                    <a:gd name="T2" fmla="*/ 77 w 541"/>
                    <a:gd name="T3" fmla="*/ 536 h 536"/>
                    <a:gd name="T4" fmla="*/ 0 w 541"/>
                    <a:gd name="T5" fmla="*/ 0 h 536"/>
                    <a:gd name="T6" fmla="*/ 541 w 541"/>
                    <a:gd name="T7" fmla="*/ 0 h 536"/>
                    <a:gd name="T8" fmla="*/ 463 w 541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536">
                      <a:moveTo>
                        <a:pt x="463" y="536"/>
                      </a:moveTo>
                      <a:lnTo>
                        <a:pt x="77" y="536"/>
                      </a:lnTo>
                      <a:lnTo>
                        <a:pt x="0" y="0"/>
                      </a:lnTo>
                      <a:lnTo>
                        <a:pt x="541" y="0"/>
                      </a:lnTo>
                      <a:lnTo>
                        <a:pt x="463" y="536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0" name="任意多边形: 形状 199">
                  <a:extLst>
                    <a:ext uri="{FF2B5EF4-FFF2-40B4-BE49-F238E27FC236}">
                      <a16:creationId xmlns:a16="http://schemas.microsoft.com/office/drawing/2014/main" id="{1483C04F-4F8D-4D30-8A4F-EE3365EE7674}"/>
                    </a:ext>
                  </a:extLst>
                </p:cNvPr>
                <p:cNvSpPr/>
                <p:nvPr userDrawn="1"/>
              </p:nvSpPr>
              <p:spPr bwMode="auto">
                <a:xfrm>
                  <a:off x="1993538" y="7339201"/>
                  <a:ext cx="180975" cy="695325"/>
                </a:xfrm>
                <a:custGeom>
                  <a:avLst/>
                  <a:gdLst>
                    <a:gd name="T0" fmla="*/ 53 w 114"/>
                    <a:gd name="T1" fmla="*/ 0 h 438"/>
                    <a:gd name="T2" fmla="*/ 0 w 114"/>
                    <a:gd name="T3" fmla="*/ 0 h 438"/>
                    <a:gd name="T4" fmla="*/ 66 w 114"/>
                    <a:gd name="T5" fmla="*/ 438 h 438"/>
                    <a:gd name="T6" fmla="*/ 66 w 114"/>
                    <a:gd name="T7" fmla="*/ 438 h 438"/>
                    <a:gd name="T8" fmla="*/ 114 w 114"/>
                    <a:gd name="T9" fmla="*/ 438 h 438"/>
                    <a:gd name="T10" fmla="*/ 53 w 114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438">
                      <a:moveTo>
                        <a:pt x="53" y="0"/>
                      </a:moveTo>
                      <a:lnTo>
                        <a:pt x="0" y="0"/>
                      </a:lnTo>
                      <a:lnTo>
                        <a:pt x="66" y="438"/>
                      </a:lnTo>
                      <a:lnTo>
                        <a:pt x="66" y="438"/>
                      </a:lnTo>
                      <a:lnTo>
                        <a:pt x="114" y="438"/>
                      </a:lnTo>
                      <a:lnTo>
                        <a:pt x="53" y="0"/>
                      </a:lnTo>
                      <a:close/>
                    </a:path>
                  </a:pathLst>
                </a:custGeom>
                <a:solidFill>
                  <a:srgbClr val="E5D9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任意多边形: 形状 200">
                  <a:extLst>
                    <a:ext uri="{FF2B5EF4-FFF2-40B4-BE49-F238E27FC236}">
                      <a16:creationId xmlns:a16="http://schemas.microsoft.com/office/drawing/2014/main" id="{EA081F33-7602-4792-97D9-0C14BD2915E2}"/>
                    </a:ext>
                  </a:extLst>
                </p:cNvPr>
                <p:cNvSpPr/>
                <p:nvPr userDrawn="1"/>
              </p:nvSpPr>
              <p:spPr bwMode="auto">
                <a:xfrm>
                  <a:off x="1993538" y="7339201"/>
                  <a:ext cx="180975" cy="695325"/>
                </a:xfrm>
                <a:custGeom>
                  <a:avLst/>
                  <a:gdLst>
                    <a:gd name="T0" fmla="*/ 53 w 114"/>
                    <a:gd name="T1" fmla="*/ 0 h 438"/>
                    <a:gd name="T2" fmla="*/ 0 w 114"/>
                    <a:gd name="T3" fmla="*/ 0 h 438"/>
                    <a:gd name="T4" fmla="*/ 66 w 114"/>
                    <a:gd name="T5" fmla="*/ 438 h 438"/>
                    <a:gd name="T6" fmla="*/ 66 w 114"/>
                    <a:gd name="T7" fmla="*/ 438 h 438"/>
                    <a:gd name="T8" fmla="*/ 114 w 114"/>
                    <a:gd name="T9" fmla="*/ 438 h 438"/>
                    <a:gd name="T10" fmla="*/ 53 w 114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438">
                      <a:moveTo>
                        <a:pt x="53" y="0"/>
                      </a:moveTo>
                      <a:lnTo>
                        <a:pt x="0" y="0"/>
                      </a:lnTo>
                      <a:lnTo>
                        <a:pt x="66" y="438"/>
                      </a:lnTo>
                      <a:lnTo>
                        <a:pt x="66" y="438"/>
                      </a:lnTo>
                      <a:lnTo>
                        <a:pt x="114" y="438"/>
                      </a:lnTo>
                      <a:lnTo>
                        <a:pt x="5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任意多边形: 形状 201">
                  <a:extLst>
                    <a:ext uri="{FF2B5EF4-FFF2-40B4-BE49-F238E27FC236}">
                      <a16:creationId xmlns:a16="http://schemas.microsoft.com/office/drawing/2014/main" id="{CD08AEFA-95B4-4415-BEC1-4DD763126912}"/>
                    </a:ext>
                  </a:extLst>
                </p:cNvPr>
                <p:cNvSpPr/>
                <p:nvPr userDrawn="1"/>
              </p:nvSpPr>
              <p:spPr bwMode="auto">
                <a:xfrm>
                  <a:off x="2504713" y="7339201"/>
                  <a:ext cx="263525" cy="695325"/>
                </a:xfrm>
                <a:custGeom>
                  <a:avLst/>
                  <a:gdLst>
                    <a:gd name="T0" fmla="*/ 166 w 166"/>
                    <a:gd name="T1" fmla="*/ 0 h 438"/>
                    <a:gd name="T2" fmla="*/ 65 w 166"/>
                    <a:gd name="T3" fmla="*/ 0 h 438"/>
                    <a:gd name="T4" fmla="*/ 0 w 166"/>
                    <a:gd name="T5" fmla="*/ 438 h 438"/>
                    <a:gd name="T6" fmla="*/ 77 w 166"/>
                    <a:gd name="T7" fmla="*/ 438 h 438"/>
                    <a:gd name="T8" fmla="*/ 105 w 166"/>
                    <a:gd name="T9" fmla="*/ 438 h 438"/>
                    <a:gd name="T10" fmla="*/ 166 w 166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6" h="438">
                      <a:moveTo>
                        <a:pt x="166" y="0"/>
                      </a:moveTo>
                      <a:lnTo>
                        <a:pt x="65" y="0"/>
                      </a:lnTo>
                      <a:lnTo>
                        <a:pt x="0" y="438"/>
                      </a:lnTo>
                      <a:lnTo>
                        <a:pt x="77" y="438"/>
                      </a:lnTo>
                      <a:lnTo>
                        <a:pt x="105" y="438"/>
                      </a:lnTo>
                      <a:lnTo>
                        <a:pt x="166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任意多边形: 形状 202">
                  <a:extLst>
                    <a:ext uri="{FF2B5EF4-FFF2-40B4-BE49-F238E27FC236}">
                      <a16:creationId xmlns:a16="http://schemas.microsoft.com/office/drawing/2014/main" id="{5CC9F774-5FAC-4565-80D4-B19E4870DC4A}"/>
                    </a:ext>
                  </a:extLst>
                </p:cNvPr>
                <p:cNvSpPr/>
                <p:nvPr userDrawn="1"/>
              </p:nvSpPr>
              <p:spPr bwMode="auto">
                <a:xfrm>
                  <a:off x="2504713" y="7339201"/>
                  <a:ext cx="263525" cy="695325"/>
                </a:xfrm>
                <a:custGeom>
                  <a:avLst/>
                  <a:gdLst>
                    <a:gd name="T0" fmla="*/ 166 w 166"/>
                    <a:gd name="T1" fmla="*/ 0 h 438"/>
                    <a:gd name="T2" fmla="*/ 65 w 166"/>
                    <a:gd name="T3" fmla="*/ 0 h 438"/>
                    <a:gd name="T4" fmla="*/ 0 w 166"/>
                    <a:gd name="T5" fmla="*/ 438 h 438"/>
                    <a:gd name="T6" fmla="*/ 77 w 166"/>
                    <a:gd name="T7" fmla="*/ 438 h 438"/>
                    <a:gd name="T8" fmla="*/ 105 w 166"/>
                    <a:gd name="T9" fmla="*/ 438 h 438"/>
                    <a:gd name="T10" fmla="*/ 166 w 166"/>
                    <a:gd name="T11" fmla="*/ 0 h 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6" h="438">
                      <a:moveTo>
                        <a:pt x="166" y="0"/>
                      </a:moveTo>
                      <a:lnTo>
                        <a:pt x="65" y="0"/>
                      </a:lnTo>
                      <a:lnTo>
                        <a:pt x="0" y="438"/>
                      </a:lnTo>
                      <a:lnTo>
                        <a:pt x="77" y="438"/>
                      </a:lnTo>
                      <a:lnTo>
                        <a:pt x="105" y="438"/>
                      </a:lnTo>
                      <a:lnTo>
                        <a:pt x="166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任意多边形: 形状 203">
                  <a:extLst>
                    <a:ext uri="{FF2B5EF4-FFF2-40B4-BE49-F238E27FC236}">
                      <a16:creationId xmlns:a16="http://schemas.microsoft.com/office/drawing/2014/main" id="{5B86A58E-F9AD-44BD-80F7-59458D6CFC40}"/>
                    </a:ext>
                  </a:extLst>
                </p:cNvPr>
                <p:cNvSpPr/>
                <p:nvPr userDrawn="1"/>
              </p:nvSpPr>
              <p:spPr bwMode="auto">
                <a:xfrm>
                  <a:off x="2768238" y="7286814"/>
                  <a:ext cx="14288" cy="52388"/>
                </a:xfrm>
                <a:custGeom>
                  <a:avLst/>
                  <a:gdLst>
                    <a:gd name="T0" fmla="*/ 9 w 9"/>
                    <a:gd name="T1" fmla="*/ 0 h 33"/>
                    <a:gd name="T2" fmla="*/ 9 w 9"/>
                    <a:gd name="T3" fmla="*/ 0 h 33"/>
                    <a:gd name="T4" fmla="*/ 0 w 9"/>
                    <a:gd name="T5" fmla="*/ 33 h 33"/>
                    <a:gd name="T6" fmla="*/ 0 w 9"/>
                    <a:gd name="T7" fmla="*/ 33 h 33"/>
                    <a:gd name="T8" fmla="*/ 9 w 9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3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DF9B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5" name="任意多边形: 形状 204">
                  <a:extLst>
                    <a:ext uri="{FF2B5EF4-FFF2-40B4-BE49-F238E27FC236}">
                      <a16:creationId xmlns:a16="http://schemas.microsoft.com/office/drawing/2014/main" id="{A2355B50-ACFB-4E81-916E-59AEA6244B92}"/>
                    </a:ext>
                  </a:extLst>
                </p:cNvPr>
                <p:cNvSpPr/>
                <p:nvPr userDrawn="1"/>
              </p:nvSpPr>
              <p:spPr bwMode="auto">
                <a:xfrm>
                  <a:off x="2768238" y="7286814"/>
                  <a:ext cx="14288" cy="52388"/>
                </a:xfrm>
                <a:custGeom>
                  <a:avLst/>
                  <a:gdLst>
                    <a:gd name="T0" fmla="*/ 9 w 9"/>
                    <a:gd name="T1" fmla="*/ 0 h 33"/>
                    <a:gd name="T2" fmla="*/ 9 w 9"/>
                    <a:gd name="T3" fmla="*/ 0 h 33"/>
                    <a:gd name="T4" fmla="*/ 0 w 9"/>
                    <a:gd name="T5" fmla="*/ 33 h 33"/>
                    <a:gd name="T6" fmla="*/ 0 w 9"/>
                    <a:gd name="T7" fmla="*/ 33 h 33"/>
                    <a:gd name="T8" fmla="*/ 9 w 9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3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6" name="任意多边形: 形状 205">
                  <a:extLst>
                    <a:ext uri="{FF2B5EF4-FFF2-40B4-BE49-F238E27FC236}">
                      <a16:creationId xmlns:a16="http://schemas.microsoft.com/office/drawing/2014/main" id="{4BF3AD3C-EFED-4FBF-BDEE-29EFC475036F}"/>
                    </a:ext>
                  </a:extLst>
                </p:cNvPr>
                <p:cNvSpPr/>
                <p:nvPr userDrawn="1"/>
              </p:nvSpPr>
              <p:spPr bwMode="auto">
                <a:xfrm>
                  <a:off x="1949088" y="7286814"/>
                  <a:ext cx="665163" cy="52388"/>
                </a:xfrm>
                <a:custGeom>
                  <a:avLst/>
                  <a:gdLst>
                    <a:gd name="T0" fmla="*/ 24 w 419"/>
                    <a:gd name="T1" fmla="*/ 0 h 33"/>
                    <a:gd name="T2" fmla="*/ 0 w 419"/>
                    <a:gd name="T3" fmla="*/ 0 h 33"/>
                    <a:gd name="T4" fmla="*/ 0 w 419"/>
                    <a:gd name="T5" fmla="*/ 4 h 33"/>
                    <a:gd name="T6" fmla="*/ 4 w 419"/>
                    <a:gd name="T7" fmla="*/ 33 h 33"/>
                    <a:gd name="T8" fmla="*/ 28 w 419"/>
                    <a:gd name="T9" fmla="*/ 33 h 33"/>
                    <a:gd name="T10" fmla="*/ 24 w 419"/>
                    <a:gd name="T11" fmla="*/ 0 h 33"/>
                    <a:gd name="T12" fmla="*/ 419 w 419"/>
                    <a:gd name="T13" fmla="*/ 0 h 33"/>
                    <a:gd name="T14" fmla="*/ 73 w 419"/>
                    <a:gd name="T15" fmla="*/ 0 h 33"/>
                    <a:gd name="T16" fmla="*/ 81 w 419"/>
                    <a:gd name="T17" fmla="*/ 33 h 33"/>
                    <a:gd name="T18" fmla="*/ 415 w 419"/>
                    <a:gd name="T19" fmla="*/ 33 h 33"/>
                    <a:gd name="T20" fmla="*/ 419 w 419"/>
                    <a:gd name="T2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9" h="33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4" y="33"/>
                      </a:lnTo>
                      <a:lnTo>
                        <a:pt x="28" y="33"/>
                      </a:lnTo>
                      <a:lnTo>
                        <a:pt x="24" y="0"/>
                      </a:lnTo>
                      <a:close/>
                      <a:moveTo>
                        <a:pt x="419" y="0"/>
                      </a:moveTo>
                      <a:lnTo>
                        <a:pt x="73" y="0"/>
                      </a:lnTo>
                      <a:lnTo>
                        <a:pt x="81" y="33"/>
                      </a:lnTo>
                      <a:lnTo>
                        <a:pt x="415" y="33"/>
                      </a:lnTo>
                      <a:lnTo>
                        <a:pt x="419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7" name="任意多边形: 形状 206">
                  <a:extLst>
                    <a:ext uri="{FF2B5EF4-FFF2-40B4-BE49-F238E27FC236}">
                      <a16:creationId xmlns:a16="http://schemas.microsoft.com/office/drawing/2014/main" id="{86EA2883-349F-462D-8413-5ECB65B766B1}"/>
                    </a:ext>
                  </a:extLst>
                </p:cNvPr>
                <p:cNvSpPr/>
                <p:nvPr userDrawn="1"/>
              </p:nvSpPr>
              <p:spPr bwMode="auto">
                <a:xfrm>
                  <a:off x="1949088" y="7286814"/>
                  <a:ext cx="665163" cy="52388"/>
                </a:xfrm>
                <a:custGeom>
                  <a:avLst/>
                  <a:gdLst>
                    <a:gd name="T0" fmla="*/ 24 w 419"/>
                    <a:gd name="T1" fmla="*/ 0 h 33"/>
                    <a:gd name="T2" fmla="*/ 0 w 419"/>
                    <a:gd name="T3" fmla="*/ 0 h 33"/>
                    <a:gd name="T4" fmla="*/ 0 w 419"/>
                    <a:gd name="T5" fmla="*/ 4 h 33"/>
                    <a:gd name="T6" fmla="*/ 4 w 419"/>
                    <a:gd name="T7" fmla="*/ 33 h 33"/>
                    <a:gd name="T8" fmla="*/ 28 w 419"/>
                    <a:gd name="T9" fmla="*/ 33 h 33"/>
                    <a:gd name="T10" fmla="*/ 24 w 419"/>
                    <a:gd name="T11" fmla="*/ 0 h 33"/>
                    <a:gd name="T12" fmla="*/ 419 w 419"/>
                    <a:gd name="T13" fmla="*/ 0 h 33"/>
                    <a:gd name="T14" fmla="*/ 73 w 419"/>
                    <a:gd name="T15" fmla="*/ 0 h 33"/>
                    <a:gd name="T16" fmla="*/ 81 w 419"/>
                    <a:gd name="T17" fmla="*/ 33 h 33"/>
                    <a:gd name="T18" fmla="*/ 415 w 419"/>
                    <a:gd name="T19" fmla="*/ 33 h 33"/>
                    <a:gd name="T20" fmla="*/ 419 w 419"/>
                    <a:gd name="T21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19" h="33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4" y="33"/>
                      </a:lnTo>
                      <a:lnTo>
                        <a:pt x="28" y="33"/>
                      </a:lnTo>
                      <a:lnTo>
                        <a:pt x="24" y="0"/>
                      </a:lnTo>
                      <a:moveTo>
                        <a:pt x="419" y="0"/>
                      </a:moveTo>
                      <a:lnTo>
                        <a:pt x="73" y="0"/>
                      </a:lnTo>
                      <a:lnTo>
                        <a:pt x="81" y="33"/>
                      </a:lnTo>
                      <a:lnTo>
                        <a:pt x="415" y="33"/>
                      </a:lnTo>
                      <a:lnTo>
                        <a:pt x="41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8" name="任意多边形: 形状 207">
                  <a:extLst>
                    <a:ext uri="{FF2B5EF4-FFF2-40B4-BE49-F238E27FC236}">
                      <a16:creationId xmlns:a16="http://schemas.microsoft.com/office/drawing/2014/main" id="{55352560-064E-4EB8-9B9C-8652D0464292}"/>
                    </a:ext>
                  </a:extLst>
                </p:cNvPr>
                <p:cNvSpPr/>
                <p:nvPr userDrawn="1"/>
              </p:nvSpPr>
              <p:spPr bwMode="auto">
                <a:xfrm>
                  <a:off x="1987188" y="7286814"/>
                  <a:ext cx="90488" cy="52388"/>
                </a:xfrm>
                <a:custGeom>
                  <a:avLst/>
                  <a:gdLst>
                    <a:gd name="T0" fmla="*/ 49 w 57"/>
                    <a:gd name="T1" fmla="*/ 0 h 33"/>
                    <a:gd name="T2" fmla="*/ 0 w 57"/>
                    <a:gd name="T3" fmla="*/ 0 h 33"/>
                    <a:gd name="T4" fmla="*/ 4 w 57"/>
                    <a:gd name="T5" fmla="*/ 33 h 33"/>
                    <a:gd name="T6" fmla="*/ 57 w 57"/>
                    <a:gd name="T7" fmla="*/ 33 h 33"/>
                    <a:gd name="T8" fmla="*/ 49 w 57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33">
                      <a:moveTo>
                        <a:pt x="49" y="0"/>
                      </a:moveTo>
                      <a:lnTo>
                        <a:pt x="0" y="0"/>
                      </a:lnTo>
                      <a:lnTo>
                        <a:pt x="4" y="33"/>
                      </a:lnTo>
                      <a:lnTo>
                        <a:pt x="57" y="33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rgbClr val="D1BF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9" name="任意多边形: 形状 208">
                  <a:extLst>
                    <a:ext uri="{FF2B5EF4-FFF2-40B4-BE49-F238E27FC236}">
                      <a16:creationId xmlns:a16="http://schemas.microsoft.com/office/drawing/2014/main" id="{8E24E6A3-E342-41BF-A2D6-9C1C181C7461}"/>
                    </a:ext>
                  </a:extLst>
                </p:cNvPr>
                <p:cNvSpPr/>
                <p:nvPr userDrawn="1"/>
              </p:nvSpPr>
              <p:spPr bwMode="auto">
                <a:xfrm>
                  <a:off x="1987188" y="7286814"/>
                  <a:ext cx="90488" cy="52388"/>
                </a:xfrm>
                <a:custGeom>
                  <a:avLst/>
                  <a:gdLst>
                    <a:gd name="T0" fmla="*/ 49 w 57"/>
                    <a:gd name="T1" fmla="*/ 0 h 33"/>
                    <a:gd name="T2" fmla="*/ 0 w 57"/>
                    <a:gd name="T3" fmla="*/ 0 h 33"/>
                    <a:gd name="T4" fmla="*/ 4 w 57"/>
                    <a:gd name="T5" fmla="*/ 33 h 33"/>
                    <a:gd name="T6" fmla="*/ 57 w 57"/>
                    <a:gd name="T7" fmla="*/ 33 h 33"/>
                    <a:gd name="T8" fmla="*/ 49 w 57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33">
                      <a:moveTo>
                        <a:pt x="49" y="0"/>
                      </a:moveTo>
                      <a:lnTo>
                        <a:pt x="0" y="0"/>
                      </a:lnTo>
                      <a:lnTo>
                        <a:pt x="4" y="33"/>
                      </a:lnTo>
                      <a:lnTo>
                        <a:pt x="57" y="33"/>
                      </a:lnTo>
                      <a:lnTo>
                        <a:pt x="4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0" name="任意多边形: 形状 209">
                  <a:extLst>
                    <a:ext uri="{FF2B5EF4-FFF2-40B4-BE49-F238E27FC236}">
                      <a16:creationId xmlns:a16="http://schemas.microsoft.com/office/drawing/2014/main" id="{B2939EE2-2842-42F9-A02F-A2403E3531B7}"/>
                    </a:ext>
                  </a:extLst>
                </p:cNvPr>
                <p:cNvSpPr/>
                <p:nvPr userDrawn="1"/>
              </p:nvSpPr>
              <p:spPr bwMode="auto">
                <a:xfrm>
                  <a:off x="2607901" y="7286814"/>
                  <a:ext cx="174625" cy="52388"/>
                </a:xfrm>
                <a:custGeom>
                  <a:avLst/>
                  <a:gdLst>
                    <a:gd name="T0" fmla="*/ 110 w 110"/>
                    <a:gd name="T1" fmla="*/ 0 h 33"/>
                    <a:gd name="T2" fmla="*/ 4 w 110"/>
                    <a:gd name="T3" fmla="*/ 0 h 33"/>
                    <a:gd name="T4" fmla="*/ 0 w 110"/>
                    <a:gd name="T5" fmla="*/ 33 h 33"/>
                    <a:gd name="T6" fmla="*/ 101 w 110"/>
                    <a:gd name="T7" fmla="*/ 33 h 33"/>
                    <a:gd name="T8" fmla="*/ 110 w 110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33">
                      <a:moveTo>
                        <a:pt x="110" y="0"/>
                      </a:moveTo>
                      <a:lnTo>
                        <a:pt x="4" y="0"/>
                      </a:lnTo>
                      <a:lnTo>
                        <a:pt x="0" y="33"/>
                      </a:lnTo>
                      <a:lnTo>
                        <a:pt x="101" y="33"/>
                      </a:lnTo>
                      <a:lnTo>
                        <a:pt x="110" y="0"/>
                      </a:lnTo>
                      <a:close/>
                    </a:path>
                  </a:pathLst>
                </a:custGeom>
                <a:solidFill>
                  <a:srgbClr val="B0969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1" name="任意多边形: 形状 210">
                  <a:extLst>
                    <a:ext uri="{FF2B5EF4-FFF2-40B4-BE49-F238E27FC236}">
                      <a16:creationId xmlns:a16="http://schemas.microsoft.com/office/drawing/2014/main" id="{DEE46B0F-6DC8-4613-9F01-B2715EE26AAA}"/>
                    </a:ext>
                  </a:extLst>
                </p:cNvPr>
                <p:cNvSpPr/>
                <p:nvPr userDrawn="1"/>
              </p:nvSpPr>
              <p:spPr bwMode="auto">
                <a:xfrm>
                  <a:off x="2607901" y="7286814"/>
                  <a:ext cx="174625" cy="52388"/>
                </a:xfrm>
                <a:custGeom>
                  <a:avLst/>
                  <a:gdLst>
                    <a:gd name="T0" fmla="*/ 110 w 110"/>
                    <a:gd name="T1" fmla="*/ 0 h 33"/>
                    <a:gd name="T2" fmla="*/ 4 w 110"/>
                    <a:gd name="T3" fmla="*/ 0 h 33"/>
                    <a:gd name="T4" fmla="*/ 0 w 110"/>
                    <a:gd name="T5" fmla="*/ 33 h 33"/>
                    <a:gd name="T6" fmla="*/ 101 w 110"/>
                    <a:gd name="T7" fmla="*/ 33 h 33"/>
                    <a:gd name="T8" fmla="*/ 110 w 110"/>
                    <a:gd name="T9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33">
                      <a:moveTo>
                        <a:pt x="110" y="0"/>
                      </a:moveTo>
                      <a:lnTo>
                        <a:pt x="4" y="0"/>
                      </a:lnTo>
                      <a:lnTo>
                        <a:pt x="0" y="33"/>
                      </a:lnTo>
                      <a:lnTo>
                        <a:pt x="101" y="33"/>
                      </a:lnTo>
                      <a:lnTo>
                        <a:pt x="110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2" name="矩形 211">
                  <a:extLst>
                    <a:ext uri="{FF2B5EF4-FFF2-40B4-BE49-F238E27FC236}">
                      <a16:creationId xmlns:a16="http://schemas.microsoft.com/office/drawing/2014/main" id="{9CF60467-4705-4FCC-AB9F-EBB1670F5CDE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50800"/>
                </a:xfrm>
                <a:prstGeom prst="rect">
                  <a:avLst/>
                </a:pr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3" name="矩形 212">
                  <a:extLst>
                    <a:ext uri="{FF2B5EF4-FFF2-40B4-BE49-F238E27FC236}">
                      <a16:creationId xmlns:a16="http://schemas.microsoft.com/office/drawing/2014/main" id="{3E817214-E692-4152-9CEC-4BFD91656F0A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508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4" name="任意多边形: 形状 213">
                  <a:extLst>
                    <a:ext uri="{FF2B5EF4-FFF2-40B4-BE49-F238E27FC236}">
                      <a16:creationId xmlns:a16="http://schemas.microsoft.com/office/drawing/2014/main" id="{C8078A0B-1459-4516-A7D5-79CB4BF4D097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25400"/>
                </a:xfrm>
                <a:custGeom>
                  <a:avLst/>
                  <a:gdLst>
                    <a:gd name="T0" fmla="*/ 333 w 333"/>
                    <a:gd name="T1" fmla="*/ 0 h 16"/>
                    <a:gd name="T2" fmla="*/ 48 w 333"/>
                    <a:gd name="T3" fmla="*/ 0 h 16"/>
                    <a:gd name="T4" fmla="*/ 0 w 333"/>
                    <a:gd name="T5" fmla="*/ 0 h 16"/>
                    <a:gd name="T6" fmla="*/ 0 w 333"/>
                    <a:gd name="T7" fmla="*/ 16 h 16"/>
                    <a:gd name="T8" fmla="*/ 333 w 333"/>
                    <a:gd name="T9" fmla="*/ 16 h 16"/>
                    <a:gd name="T10" fmla="*/ 333 w 333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3" h="16">
                      <a:moveTo>
                        <a:pt x="333" y="0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333" y="16"/>
                      </a:lnTo>
                      <a:lnTo>
                        <a:pt x="333" y="0"/>
                      </a:lnTo>
                      <a:close/>
                    </a:path>
                  </a:pathLst>
                </a:cu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5" name="任意多边形: 形状 214">
                  <a:extLst>
                    <a:ext uri="{FF2B5EF4-FFF2-40B4-BE49-F238E27FC236}">
                      <a16:creationId xmlns:a16="http://schemas.microsoft.com/office/drawing/2014/main" id="{B896E57A-AB2C-48A2-BB35-2E9D98B20E9F}"/>
                    </a:ext>
                  </a:extLst>
                </p:cNvPr>
                <p:cNvSpPr/>
                <p:nvPr userDrawn="1"/>
              </p:nvSpPr>
              <p:spPr bwMode="auto">
                <a:xfrm>
                  <a:off x="2098313" y="8034526"/>
                  <a:ext cx="528638" cy="25400"/>
                </a:xfrm>
                <a:custGeom>
                  <a:avLst/>
                  <a:gdLst>
                    <a:gd name="T0" fmla="*/ 333 w 333"/>
                    <a:gd name="T1" fmla="*/ 0 h 16"/>
                    <a:gd name="T2" fmla="*/ 48 w 333"/>
                    <a:gd name="T3" fmla="*/ 0 h 16"/>
                    <a:gd name="T4" fmla="*/ 0 w 333"/>
                    <a:gd name="T5" fmla="*/ 0 h 16"/>
                    <a:gd name="T6" fmla="*/ 0 w 333"/>
                    <a:gd name="T7" fmla="*/ 16 h 16"/>
                    <a:gd name="T8" fmla="*/ 333 w 333"/>
                    <a:gd name="T9" fmla="*/ 16 h 16"/>
                    <a:gd name="T10" fmla="*/ 333 w 333"/>
                    <a:gd name="T11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3" h="16">
                      <a:moveTo>
                        <a:pt x="333" y="0"/>
                      </a:moveTo>
                      <a:lnTo>
                        <a:pt x="4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333" y="16"/>
                      </a:lnTo>
                      <a:lnTo>
                        <a:pt x="33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6" name="矩形 215">
                  <a:extLst>
                    <a:ext uri="{FF2B5EF4-FFF2-40B4-BE49-F238E27FC236}">
                      <a16:creationId xmlns:a16="http://schemas.microsoft.com/office/drawing/2014/main" id="{FEDB5787-AF09-44A8-B75A-AB3C8286EABA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7164576"/>
                  <a:ext cx="936625" cy="122238"/>
                </a:xfrm>
                <a:prstGeom prst="rect">
                  <a:avLst/>
                </a:prstGeom>
                <a:solidFill>
                  <a:srgbClr val="D3C2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7" name="矩形 216">
                  <a:extLst>
                    <a:ext uri="{FF2B5EF4-FFF2-40B4-BE49-F238E27FC236}">
                      <a16:creationId xmlns:a16="http://schemas.microsoft.com/office/drawing/2014/main" id="{4048DA51-FA06-4FB6-80EA-A854B7298255}"/>
                    </a:ext>
                  </a:extLst>
                </p:cNvPr>
                <p:cNvSpPr/>
                <p:nvPr userDrawn="1"/>
              </p:nvSpPr>
              <p:spPr bwMode="auto">
                <a:xfrm>
                  <a:off x="1896701" y="7164576"/>
                  <a:ext cx="936625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8" name="矩形 217">
                  <a:extLst>
                    <a:ext uri="{FF2B5EF4-FFF2-40B4-BE49-F238E27FC236}">
                      <a16:creationId xmlns:a16="http://schemas.microsoft.com/office/drawing/2014/main" id="{26451DC8-47DC-41E9-A6A7-AF9168D6C19C}"/>
                    </a:ext>
                  </a:extLst>
                </p:cNvPr>
                <p:cNvSpPr/>
                <p:nvPr userDrawn="1"/>
              </p:nvSpPr>
              <p:spPr bwMode="auto">
                <a:xfrm>
                  <a:off x="2658701" y="7164576"/>
                  <a:ext cx="174625" cy="122238"/>
                </a:xfrm>
                <a:prstGeom prst="rect">
                  <a:avLst/>
                </a:prstGeom>
                <a:solidFill>
                  <a:srgbClr val="C1ABA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9" name="矩形 218">
                  <a:extLst>
                    <a:ext uri="{FF2B5EF4-FFF2-40B4-BE49-F238E27FC236}">
                      <a16:creationId xmlns:a16="http://schemas.microsoft.com/office/drawing/2014/main" id="{DF1F4BC9-AE65-4B6C-8172-7CC27234F5E7}"/>
                    </a:ext>
                  </a:extLst>
                </p:cNvPr>
                <p:cNvSpPr/>
                <p:nvPr userDrawn="1"/>
              </p:nvSpPr>
              <p:spPr bwMode="auto">
                <a:xfrm>
                  <a:off x="2658701" y="7164576"/>
                  <a:ext cx="174625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0" name="矩形 219">
                  <a:extLst>
                    <a:ext uri="{FF2B5EF4-FFF2-40B4-BE49-F238E27FC236}">
                      <a16:creationId xmlns:a16="http://schemas.microsoft.com/office/drawing/2014/main" id="{FD56A85D-76F2-4C82-B44A-212FD711EB68}"/>
                    </a:ext>
                  </a:extLst>
                </p:cNvPr>
                <p:cNvSpPr/>
                <p:nvPr userDrawn="1"/>
              </p:nvSpPr>
              <p:spPr bwMode="auto">
                <a:xfrm>
                  <a:off x="1917338" y="7164576"/>
                  <a:ext cx="115888" cy="122238"/>
                </a:xfrm>
                <a:prstGeom prst="rect">
                  <a:avLst/>
                </a:prstGeom>
                <a:solidFill>
                  <a:srgbClr val="E5D9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1" name="矩形 220">
                  <a:extLst>
                    <a:ext uri="{FF2B5EF4-FFF2-40B4-BE49-F238E27FC236}">
                      <a16:creationId xmlns:a16="http://schemas.microsoft.com/office/drawing/2014/main" id="{D54616B7-5150-4310-8720-E4514AE5340B}"/>
                    </a:ext>
                  </a:extLst>
                </p:cNvPr>
                <p:cNvSpPr/>
                <p:nvPr userDrawn="1"/>
              </p:nvSpPr>
              <p:spPr bwMode="auto">
                <a:xfrm>
                  <a:off x="1917338" y="7164576"/>
                  <a:ext cx="115888" cy="1222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  <a:endParaRPr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233" name="椭圆 232">
            <a:extLst>
              <a:ext uri="{FF2B5EF4-FFF2-40B4-BE49-F238E27FC236}">
                <a16:creationId xmlns:a16="http://schemas.microsoft.com/office/drawing/2014/main" id="{17316FB1-2C06-49FF-96BC-01293BDFDCE2}"/>
              </a:ext>
            </a:extLst>
          </p:cNvPr>
          <p:cNvSpPr/>
          <p:nvPr userDrawn="1"/>
        </p:nvSpPr>
        <p:spPr>
          <a:xfrm>
            <a:off x="3821707" y="3503966"/>
            <a:ext cx="2041424" cy="2041424"/>
          </a:xfrm>
          <a:prstGeom prst="ellipse">
            <a:avLst/>
          </a:prstGeom>
          <a:gradFill>
            <a:gsLst>
              <a:gs pos="16000">
                <a:schemeClr val="accent1">
                  <a:lumMod val="50000"/>
                  <a:lumOff val="50000"/>
                  <a:alpha val="16000"/>
                </a:schemeClr>
              </a:gs>
              <a:gs pos="100000">
                <a:schemeClr val="accent3">
                  <a:alpha val="49000"/>
                </a:schemeClr>
              </a:gs>
            </a:gsLst>
            <a:lin ang="2700000" scaled="1"/>
          </a:gradFill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34" name="椭圆 233">
            <a:extLst>
              <a:ext uri="{FF2B5EF4-FFF2-40B4-BE49-F238E27FC236}">
                <a16:creationId xmlns:a16="http://schemas.microsoft.com/office/drawing/2014/main" id="{E4B7E3A4-6E95-4359-8D58-020FEEFBBC3C}"/>
              </a:ext>
            </a:extLst>
          </p:cNvPr>
          <p:cNvSpPr/>
          <p:nvPr userDrawn="1"/>
        </p:nvSpPr>
        <p:spPr>
          <a:xfrm>
            <a:off x="943585" y="192126"/>
            <a:ext cx="1218193" cy="1218193"/>
          </a:xfrm>
          <a:prstGeom prst="ellipse">
            <a:avLst/>
          </a:prstGeom>
          <a:gradFill>
            <a:gsLst>
              <a:gs pos="16000">
                <a:schemeClr val="accent1">
                  <a:lumMod val="50000"/>
                  <a:lumOff val="50000"/>
                  <a:alpha val="16000"/>
                </a:schemeClr>
              </a:gs>
              <a:gs pos="100000">
                <a:schemeClr val="accent3"/>
              </a:gs>
            </a:gsLst>
            <a:lin ang="2700000" scaled="1"/>
          </a:gradFill>
          <a:effectLst>
            <a:softEdge rad="330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848158"/>
            <a:ext cx="6452274" cy="197380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925" y="4995398"/>
            <a:ext cx="6452274" cy="351529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4701037"/>
            <a:ext cx="6452274" cy="335020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73100" y="1919290"/>
            <a:ext cx="6954837" cy="2477407"/>
          </a:xfrm>
        </p:spPr>
        <p:txBody>
          <a:bodyPr>
            <a:normAutofit/>
          </a:bodyPr>
          <a:lstStyle/>
          <a:p>
            <a:r>
              <a:rPr lang="zh-CN" altLang="en-US" sz="6000" b="0" dirty="0">
                <a:solidFill>
                  <a:schemeClr val="accent4"/>
                </a:solidFill>
                <a:latin typeface="+mn-lt"/>
                <a:ea typeface="+mn-ea"/>
                <a:cs typeface="+mn-ea"/>
                <a:sym typeface="+mn-lt"/>
              </a:rPr>
              <a:t>预防</a:t>
            </a:r>
            <a:r>
              <a:rPr lang="zh-CN" altLang="en-US" sz="6000" b="0" dirty="0">
                <a:latin typeface="+mn-lt"/>
                <a:ea typeface="+mn-ea"/>
                <a:cs typeface="+mn-ea"/>
                <a:sym typeface="+mn-lt"/>
              </a:rPr>
              <a:t>新型冠状病毒</a:t>
            </a:r>
            <a:br>
              <a:rPr lang="en-US" altLang="zh-CN" sz="72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7200" dirty="0">
                <a:latin typeface="+mn-lt"/>
                <a:ea typeface="+mn-ea"/>
                <a:cs typeface="+mn-ea"/>
                <a:sym typeface="+mn-lt"/>
              </a:rPr>
              <a:t>最</a:t>
            </a:r>
            <a:r>
              <a:rPr lang="en-US" altLang="zh-CN" sz="7200" dirty="0"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7200" dirty="0">
                <a:latin typeface="+mn-lt"/>
                <a:ea typeface="+mn-ea"/>
                <a:cs typeface="+mn-ea"/>
                <a:sym typeface="+mn-lt"/>
              </a:rPr>
              <a:t>全</a:t>
            </a:r>
            <a:r>
              <a:rPr lang="en-US" altLang="zh-CN" sz="7200" dirty="0"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7200" dirty="0">
                <a:latin typeface="+mn-lt"/>
                <a:ea typeface="+mn-ea"/>
                <a:cs typeface="+mn-ea"/>
                <a:sym typeface="+mn-lt"/>
              </a:rPr>
              <a:t>攻</a:t>
            </a:r>
            <a:r>
              <a:rPr lang="en-US" altLang="zh-CN" sz="7200" dirty="0"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7200" dirty="0">
                <a:latin typeface="+mn-lt"/>
                <a:ea typeface="+mn-ea"/>
                <a:cs typeface="+mn-ea"/>
                <a:sym typeface="+mn-lt"/>
              </a:rPr>
              <a:t>略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73100" y="5249119"/>
            <a:ext cx="4314825" cy="296271"/>
          </a:xfrm>
        </p:spPr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73100" y="5590179"/>
            <a:ext cx="5873174" cy="296271"/>
          </a:xfrm>
        </p:spPr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5" name="文本占位符 64"/>
          <p:cNvSpPr>
            <a:spLocks noGrp="1"/>
          </p:cNvSpPr>
          <p:nvPr>
            <p:ph type="body" sz="quarter" idx="12"/>
          </p:nvPr>
        </p:nvSpPr>
        <p:spPr>
          <a:xfrm>
            <a:off x="669925" y="1028700"/>
            <a:ext cx="4127955" cy="513270"/>
          </a:xfrm>
        </p:spPr>
        <p:txBody>
          <a:bodyPr>
            <a:normAutofit/>
          </a:bodyPr>
          <a:lstStyle/>
          <a:p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减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少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人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员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聚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集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阻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断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疫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情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传</a:t>
            </a:r>
            <a:r>
              <a:rPr lang="en-US" altLang="zh-CN" dirty="0">
                <a:cs typeface="+mn-ea"/>
                <a:sym typeface="+mn-lt"/>
              </a:rPr>
              <a:t>/</a:t>
            </a:r>
            <a:r>
              <a:rPr lang="zh-CN" altLang="en-US" dirty="0">
                <a:cs typeface="+mn-ea"/>
                <a:sym typeface="+mn-lt"/>
              </a:rPr>
              <a:t>播</a:t>
            </a:r>
            <a:r>
              <a:rPr lang="en-US" altLang="zh-CN" dirty="0">
                <a:cs typeface="+mn-ea"/>
                <a:sym typeface="+mn-lt"/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家庭日常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椭圆 5"/>
          <p:cNvSpPr/>
          <p:nvPr/>
        </p:nvSpPr>
        <p:spPr bwMode="auto">
          <a:xfrm>
            <a:off x="4518007" y="2063820"/>
            <a:ext cx="3159160" cy="31531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任意多边形: 形状 6"/>
          <p:cNvSpPr/>
          <p:nvPr/>
        </p:nvSpPr>
        <p:spPr bwMode="auto">
          <a:xfrm>
            <a:off x="3807621" y="3152432"/>
            <a:ext cx="2776084" cy="2773661"/>
          </a:xfrm>
          <a:custGeom>
            <a:avLst/>
            <a:gdLst>
              <a:gd name="T0" fmla="*/ 996 w 1102"/>
              <a:gd name="T1" fmla="*/ 106 h 1103"/>
              <a:gd name="T2" fmla="*/ 996 w 1102"/>
              <a:gd name="T3" fmla="*/ 106 h 1103"/>
              <a:gd name="T4" fmla="*/ 611 w 1102"/>
              <a:gd name="T5" fmla="*/ 106 h 1103"/>
              <a:gd name="T6" fmla="*/ 106 w 1102"/>
              <a:gd name="T7" fmla="*/ 611 h 1103"/>
              <a:gd name="T8" fmla="*/ 106 w 1102"/>
              <a:gd name="T9" fmla="*/ 997 h 1103"/>
              <a:gd name="T10" fmla="*/ 106 w 1102"/>
              <a:gd name="T11" fmla="*/ 997 h 1103"/>
              <a:gd name="T12" fmla="*/ 492 w 1102"/>
              <a:gd name="T13" fmla="*/ 997 h 1103"/>
              <a:gd name="T14" fmla="*/ 996 w 1102"/>
              <a:gd name="T15" fmla="*/ 492 h 1103"/>
              <a:gd name="T16" fmla="*/ 996 w 1102"/>
              <a:gd name="T17" fmla="*/ 106 h 1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02" h="1103">
                <a:moveTo>
                  <a:pt x="996" y="106"/>
                </a:moveTo>
                <a:cubicBezTo>
                  <a:pt x="996" y="106"/>
                  <a:pt x="996" y="106"/>
                  <a:pt x="996" y="106"/>
                </a:cubicBezTo>
                <a:cubicBezTo>
                  <a:pt x="890" y="0"/>
                  <a:pt x="717" y="0"/>
                  <a:pt x="611" y="106"/>
                </a:cubicBezTo>
                <a:cubicBezTo>
                  <a:pt x="106" y="611"/>
                  <a:pt x="106" y="611"/>
                  <a:pt x="106" y="611"/>
                </a:cubicBezTo>
                <a:cubicBezTo>
                  <a:pt x="0" y="717"/>
                  <a:pt x="0" y="890"/>
                  <a:pt x="106" y="997"/>
                </a:cubicBezTo>
                <a:cubicBezTo>
                  <a:pt x="106" y="997"/>
                  <a:pt x="106" y="997"/>
                  <a:pt x="106" y="997"/>
                </a:cubicBezTo>
                <a:cubicBezTo>
                  <a:pt x="212" y="1103"/>
                  <a:pt x="386" y="1103"/>
                  <a:pt x="492" y="997"/>
                </a:cubicBezTo>
                <a:cubicBezTo>
                  <a:pt x="996" y="492"/>
                  <a:pt x="996" y="492"/>
                  <a:pt x="996" y="492"/>
                </a:cubicBezTo>
                <a:cubicBezTo>
                  <a:pt x="1102" y="386"/>
                  <a:pt x="1102" y="212"/>
                  <a:pt x="996" y="10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/>
          <p:cNvSpPr/>
          <p:nvPr/>
        </p:nvSpPr>
        <p:spPr bwMode="auto">
          <a:xfrm>
            <a:off x="5569041" y="1313427"/>
            <a:ext cx="2856094" cy="2854883"/>
          </a:xfrm>
          <a:custGeom>
            <a:avLst/>
            <a:gdLst>
              <a:gd name="T0" fmla="*/ 92 w 1134"/>
              <a:gd name="T1" fmla="*/ 1042 h 1135"/>
              <a:gd name="T2" fmla="*/ 61 w 1134"/>
              <a:gd name="T3" fmla="*/ 1006 h 1135"/>
              <a:gd name="T4" fmla="*/ 36 w 1134"/>
              <a:gd name="T5" fmla="*/ 966 h 1135"/>
              <a:gd name="T6" fmla="*/ 9 w 1134"/>
              <a:gd name="T7" fmla="*/ 895 h 1135"/>
              <a:gd name="T8" fmla="*/ 2 w 1134"/>
              <a:gd name="T9" fmla="*/ 850 h 1135"/>
              <a:gd name="T10" fmla="*/ 4 w 1134"/>
              <a:gd name="T11" fmla="*/ 774 h 1135"/>
              <a:gd name="T12" fmla="*/ 13 w 1134"/>
              <a:gd name="T13" fmla="*/ 730 h 1135"/>
              <a:gd name="T14" fmla="*/ 44 w 1134"/>
              <a:gd name="T15" fmla="*/ 659 h 1135"/>
              <a:gd name="T16" fmla="*/ 61 w 1134"/>
              <a:gd name="T17" fmla="*/ 633 h 1135"/>
              <a:gd name="T18" fmla="*/ 92 w 1134"/>
              <a:gd name="T19" fmla="*/ 597 h 1135"/>
              <a:gd name="T20" fmla="*/ 609 w 1134"/>
              <a:gd name="T21" fmla="*/ 81 h 1135"/>
              <a:gd name="T22" fmla="*/ 646 w 1134"/>
              <a:gd name="T23" fmla="*/ 52 h 1135"/>
              <a:gd name="T24" fmla="*/ 687 w 1134"/>
              <a:gd name="T25" fmla="*/ 29 h 1135"/>
              <a:gd name="T26" fmla="*/ 760 w 1134"/>
              <a:gd name="T27" fmla="*/ 6 h 1135"/>
              <a:gd name="T28" fmla="*/ 805 w 1134"/>
              <a:gd name="T29" fmla="*/ 1 h 1135"/>
              <a:gd name="T30" fmla="*/ 880 w 1134"/>
              <a:gd name="T31" fmla="*/ 6 h 1135"/>
              <a:gd name="T32" fmla="*/ 924 w 1134"/>
              <a:gd name="T33" fmla="*/ 18 h 1135"/>
              <a:gd name="T34" fmla="*/ 993 w 1134"/>
              <a:gd name="T35" fmla="*/ 52 h 1135"/>
              <a:gd name="T36" fmla="*/ 1031 w 1134"/>
              <a:gd name="T37" fmla="*/ 81 h 1135"/>
              <a:gd name="T38" fmla="*/ 1064 w 1134"/>
              <a:gd name="T39" fmla="*/ 116 h 1135"/>
              <a:gd name="T40" fmla="*/ 1091 w 1134"/>
              <a:gd name="T41" fmla="*/ 155 h 1135"/>
              <a:gd name="T42" fmla="*/ 1112 w 1134"/>
              <a:gd name="T43" fmla="*/ 196 h 1135"/>
              <a:gd name="T44" fmla="*/ 1131 w 1134"/>
              <a:gd name="T45" fmla="*/ 270 h 1135"/>
              <a:gd name="T46" fmla="*/ 1134 w 1134"/>
              <a:gd name="T47" fmla="*/ 315 h 1135"/>
              <a:gd name="T48" fmla="*/ 1126 w 1134"/>
              <a:gd name="T49" fmla="*/ 390 h 1135"/>
              <a:gd name="T50" fmla="*/ 1112 w 1134"/>
              <a:gd name="T51" fmla="*/ 434 h 1135"/>
              <a:gd name="T52" fmla="*/ 1074 w 1134"/>
              <a:gd name="T53" fmla="*/ 501 h 1135"/>
              <a:gd name="T54" fmla="*/ 1043 w 1134"/>
              <a:gd name="T55" fmla="*/ 537 h 1135"/>
              <a:gd name="T56" fmla="*/ 526 w 1134"/>
              <a:gd name="T57" fmla="*/ 1053 h 1135"/>
              <a:gd name="T58" fmla="*/ 489 w 1134"/>
              <a:gd name="T59" fmla="*/ 1083 h 1135"/>
              <a:gd name="T60" fmla="*/ 448 w 1134"/>
              <a:gd name="T61" fmla="*/ 1105 h 1135"/>
              <a:gd name="T62" fmla="*/ 375 w 1134"/>
              <a:gd name="T63" fmla="*/ 1129 h 1135"/>
              <a:gd name="T64" fmla="*/ 330 w 1134"/>
              <a:gd name="T65" fmla="*/ 1134 h 1135"/>
              <a:gd name="T66" fmla="*/ 255 w 1134"/>
              <a:gd name="T67" fmla="*/ 1129 h 1135"/>
              <a:gd name="T68" fmla="*/ 211 w 1134"/>
              <a:gd name="T69" fmla="*/ 1117 h 1135"/>
              <a:gd name="T70" fmla="*/ 142 w 1134"/>
              <a:gd name="T71" fmla="*/ 1083 h 1135"/>
              <a:gd name="T72" fmla="*/ 104 w 1134"/>
              <a:gd name="T73" fmla="*/ 1053 h 1135"/>
              <a:gd name="T74" fmla="*/ 92 w 1134"/>
              <a:gd name="T75" fmla="*/ 1042 h 1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34" h="1135">
                <a:moveTo>
                  <a:pt x="92" y="1042"/>
                </a:moveTo>
                <a:cubicBezTo>
                  <a:pt x="81" y="1031"/>
                  <a:pt x="71" y="1019"/>
                  <a:pt x="61" y="1006"/>
                </a:cubicBezTo>
                <a:cubicBezTo>
                  <a:pt x="52" y="993"/>
                  <a:pt x="44" y="980"/>
                  <a:pt x="36" y="966"/>
                </a:cubicBezTo>
                <a:cubicBezTo>
                  <a:pt x="25" y="942"/>
                  <a:pt x="16" y="920"/>
                  <a:pt x="9" y="895"/>
                </a:cubicBezTo>
                <a:cubicBezTo>
                  <a:pt x="6" y="880"/>
                  <a:pt x="4" y="865"/>
                  <a:pt x="2" y="850"/>
                </a:cubicBezTo>
                <a:cubicBezTo>
                  <a:pt x="0" y="824"/>
                  <a:pt x="1" y="800"/>
                  <a:pt x="4" y="774"/>
                </a:cubicBezTo>
                <a:cubicBezTo>
                  <a:pt x="6" y="759"/>
                  <a:pt x="9" y="745"/>
                  <a:pt x="13" y="730"/>
                </a:cubicBezTo>
                <a:cubicBezTo>
                  <a:pt x="21" y="705"/>
                  <a:pt x="31" y="682"/>
                  <a:pt x="44" y="659"/>
                </a:cubicBezTo>
                <a:cubicBezTo>
                  <a:pt x="61" y="633"/>
                  <a:pt x="61" y="633"/>
                  <a:pt x="61" y="633"/>
                </a:cubicBezTo>
                <a:cubicBezTo>
                  <a:pt x="71" y="620"/>
                  <a:pt x="81" y="609"/>
                  <a:pt x="92" y="597"/>
                </a:cubicBezTo>
                <a:cubicBezTo>
                  <a:pt x="609" y="81"/>
                  <a:pt x="609" y="81"/>
                  <a:pt x="609" y="81"/>
                </a:cubicBezTo>
                <a:cubicBezTo>
                  <a:pt x="621" y="71"/>
                  <a:pt x="633" y="61"/>
                  <a:pt x="646" y="52"/>
                </a:cubicBezTo>
                <a:cubicBezTo>
                  <a:pt x="660" y="44"/>
                  <a:pt x="673" y="36"/>
                  <a:pt x="687" y="29"/>
                </a:cubicBezTo>
                <a:cubicBezTo>
                  <a:pt x="711" y="19"/>
                  <a:pt x="734" y="12"/>
                  <a:pt x="760" y="6"/>
                </a:cubicBezTo>
                <a:cubicBezTo>
                  <a:pt x="775" y="3"/>
                  <a:pt x="789" y="2"/>
                  <a:pt x="805" y="1"/>
                </a:cubicBezTo>
                <a:cubicBezTo>
                  <a:pt x="831" y="0"/>
                  <a:pt x="854" y="2"/>
                  <a:pt x="880" y="6"/>
                </a:cubicBezTo>
                <a:cubicBezTo>
                  <a:pt x="895" y="9"/>
                  <a:pt x="909" y="13"/>
                  <a:pt x="924" y="18"/>
                </a:cubicBezTo>
                <a:cubicBezTo>
                  <a:pt x="949" y="27"/>
                  <a:pt x="971" y="38"/>
                  <a:pt x="993" y="52"/>
                </a:cubicBezTo>
                <a:cubicBezTo>
                  <a:pt x="1006" y="61"/>
                  <a:pt x="1019" y="71"/>
                  <a:pt x="1031" y="81"/>
                </a:cubicBezTo>
                <a:cubicBezTo>
                  <a:pt x="1043" y="92"/>
                  <a:pt x="1053" y="104"/>
                  <a:pt x="1064" y="116"/>
                </a:cubicBezTo>
                <a:cubicBezTo>
                  <a:pt x="1074" y="129"/>
                  <a:pt x="1083" y="141"/>
                  <a:pt x="1091" y="155"/>
                </a:cubicBezTo>
                <a:cubicBezTo>
                  <a:pt x="1099" y="169"/>
                  <a:pt x="1105" y="182"/>
                  <a:pt x="1112" y="196"/>
                </a:cubicBezTo>
                <a:cubicBezTo>
                  <a:pt x="1121" y="221"/>
                  <a:pt x="1127" y="244"/>
                  <a:pt x="1131" y="270"/>
                </a:cubicBezTo>
                <a:cubicBezTo>
                  <a:pt x="1133" y="285"/>
                  <a:pt x="1134" y="300"/>
                  <a:pt x="1134" y="315"/>
                </a:cubicBezTo>
                <a:cubicBezTo>
                  <a:pt x="1134" y="341"/>
                  <a:pt x="1131" y="365"/>
                  <a:pt x="1126" y="390"/>
                </a:cubicBezTo>
                <a:cubicBezTo>
                  <a:pt x="1121" y="405"/>
                  <a:pt x="1117" y="419"/>
                  <a:pt x="1112" y="434"/>
                </a:cubicBezTo>
                <a:cubicBezTo>
                  <a:pt x="1101" y="458"/>
                  <a:pt x="1089" y="479"/>
                  <a:pt x="1074" y="501"/>
                </a:cubicBezTo>
                <a:cubicBezTo>
                  <a:pt x="1064" y="514"/>
                  <a:pt x="1054" y="526"/>
                  <a:pt x="1043" y="537"/>
                </a:cubicBezTo>
                <a:cubicBezTo>
                  <a:pt x="526" y="1053"/>
                  <a:pt x="526" y="1053"/>
                  <a:pt x="526" y="1053"/>
                </a:cubicBezTo>
                <a:cubicBezTo>
                  <a:pt x="514" y="1064"/>
                  <a:pt x="502" y="1073"/>
                  <a:pt x="489" y="1083"/>
                </a:cubicBezTo>
                <a:cubicBezTo>
                  <a:pt x="475" y="1091"/>
                  <a:pt x="462" y="1098"/>
                  <a:pt x="448" y="1105"/>
                </a:cubicBezTo>
                <a:cubicBezTo>
                  <a:pt x="424" y="1116"/>
                  <a:pt x="401" y="1123"/>
                  <a:pt x="375" y="1129"/>
                </a:cubicBezTo>
                <a:cubicBezTo>
                  <a:pt x="360" y="1131"/>
                  <a:pt x="346" y="1133"/>
                  <a:pt x="330" y="1134"/>
                </a:cubicBezTo>
                <a:cubicBezTo>
                  <a:pt x="304" y="1135"/>
                  <a:pt x="281" y="1133"/>
                  <a:pt x="255" y="1129"/>
                </a:cubicBezTo>
                <a:cubicBezTo>
                  <a:pt x="240" y="1125"/>
                  <a:pt x="226" y="1121"/>
                  <a:pt x="211" y="1117"/>
                </a:cubicBezTo>
                <a:cubicBezTo>
                  <a:pt x="186" y="1107"/>
                  <a:pt x="164" y="1097"/>
                  <a:pt x="142" y="1083"/>
                </a:cubicBezTo>
                <a:cubicBezTo>
                  <a:pt x="128" y="1073"/>
                  <a:pt x="116" y="1064"/>
                  <a:pt x="104" y="1053"/>
                </a:cubicBezTo>
                <a:cubicBezTo>
                  <a:pt x="92" y="1042"/>
                  <a:pt x="92" y="1042"/>
                  <a:pt x="92" y="10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/>
          <p:cNvSpPr/>
          <p:nvPr/>
        </p:nvSpPr>
        <p:spPr bwMode="auto">
          <a:xfrm>
            <a:off x="5609046" y="1354644"/>
            <a:ext cx="2778509" cy="2770024"/>
          </a:xfrm>
          <a:custGeom>
            <a:avLst/>
            <a:gdLst>
              <a:gd name="T0" fmla="*/ 106 w 1103"/>
              <a:gd name="T1" fmla="*/ 996 h 1102"/>
              <a:gd name="T2" fmla="*/ 106 w 1103"/>
              <a:gd name="T3" fmla="*/ 996 h 1102"/>
              <a:gd name="T4" fmla="*/ 106 w 1103"/>
              <a:gd name="T5" fmla="*/ 611 h 1102"/>
              <a:gd name="T6" fmla="*/ 611 w 1103"/>
              <a:gd name="T7" fmla="*/ 106 h 1102"/>
              <a:gd name="T8" fmla="*/ 997 w 1103"/>
              <a:gd name="T9" fmla="*/ 106 h 1102"/>
              <a:gd name="T10" fmla="*/ 997 w 1103"/>
              <a:gd name="T11" fmla="*/ 106 h 1102"/>
              <a:gd name="T12" fmla="*/ 997 w 1103"/>
              <a:gd name="T13" fmla="*/ 492 h 1102"/>
              <a:gd name="T14" fmla="*/ 492 w 1103"/>
              <a:gd name="T15" fmla="*/ 996 h 1102"/>
              <a:gd name="T16" fmla="*/ 106 w 1103"/>
              <a:gd name="T17" fmla="*/ 996 h 1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03" h="1102">
                <a:moveTo>
                  <a:pt x="106" y="996"/>
                </a:moveTo>
                <a:cubicBezTo>
                  <a:pt x="106" y="996"/>
                  <a:pt x="106" y="996"/>
                  <a:pt x="106" y="996"/>
                </a:cubicBezTo>
                <a:cubicBezTo>
                  <a:pt x="0" y="890"/>
                  <a:pt x="0" y="717"/>
                  <a:pt x="106" y="611"/>
                </a:cubicBezTo>
                <a:cubicBezTo>
                  <a:pt x="611" y="106"/>
                  <a:pt x="611" y="106"/>
                  <a:pt x="611" y="106"/>
                </a:cubicBezTo>
                <a:cubicBezTo>
                  <a:pt x="717" y="0"/>
                  <a:pt x="890" y="0"/>
                  <a:pt x="997" y="106"/>
                </a:cubicBezTo>
                <a:cubicBezTo>
                  <a:pt x="997" y="106"/>
                  <a:pt x="997" y="106"/>
                  <a:pt x="997" y="106"/>
                </a:cubicBezTo>
                <a:cubicBezTo>
                  <a:pt x="1103" y="212"/>
                  <a:pt x="1103" y="386"/>
                  <a:pt x="997" y="492"/>
                </a:cubicBezTo>
                <a:cubicBezTo>
                  <a:pt x="492" y="996"/>
                  <a:pt x="492" y="996"/>
                  <a:pt x="492" y="996"/>
                </a:cubicBezTo>
                <a:cubicBezTo>
                  <a:pt x="386" y="1102"/>
                  <a:pt x="212" y="1102"/>
                  <a:pt x="106" y="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/>
          <p:cNvSpPr/>
          <p:nvPr/>
        </p:nvSpPr>
        <p:spPr bwMode="auto">
          <a:xfrm>
            <a:off x="5569041" y="3112427"/>
            <a:ext cx="2858519" cy="2851246"/>
          </a:xfrm>
          <a:custGeom>
            <a:avLst/>
            <a:gdLst>
              <a:gd name="T0" fmla="*/ 92 w 1135"/>
              <a:gd name="T1" fmla="*/ 92 h 1134"/>
              <a:gd name="T2" fmla="*/ 129 w 1135"/>
              <a:gd name="T3" fmla="*/ 61 h 1134"/>
              <a:gd name="T4" fmla="*/ 169 w 1135"/>
              <a:gd name="T5" fmla="*/ 36 h 1134"/>
              <a:gd name="T6" fmla="*/ 240 w 1135"/>
              <a:gd name="T7" fmla="*/ 9 h 1134"/>
              <a:gd name="T8" fmla="*/ 285 w 1135"/>
              <a:gd name="T9" fmla="*/ 2 h 1134"/>
              <a:gd name="T10" fmla="*/ 360 w 1135"/>
              <a:gd name="T11" fmla="*/ 4 h 1134"/>
              <a:gd name="T12" fmla="*/ 405 w 1135"/>
              <a:gd name="T13" fmla="*/ 13 h 1134"/>
              <a:gd name="T14" fmla="*/ 475 w 1135"/>
              <a:gd name="T15" fmla="*/ 44 h 1134"/>
              <a:gd name="T16" fmla="*/ 502 w 1135"/>
              <a:gd name="T17" fmla="*/ 61 h 1134"/>
              <a:gd name="T18" fmla="*/ 538 w 1135"/>
              <a:gd name="T19" fmla="*/ 92 h 1134"/>
              <a:gd name="T20" fmla="*/ 1054 w 1135"/>
              <a:gd name="T21" fmla="*/ 609 h 1134"/>
              <a:gd name="T22" fmla="*/ 1083 w 1135"/>
              <a:gd name="T23" fmla="*/ 646 h 1134"/>
              <a:gd name="T24" fmla="*/ 1105 w 1135"/>
              <a:gd name="T25" fmla="*/ 687 h 1134"/>
              <a:gd name="T26" fmla="*/ 1129 w 1135"/>
              <a:gd name="T27" fmla="*/ 760 h 1134"/>
              <a:gd name="T28" fmla="*/ 1134 w 1135"/>
              <a:gd name="T29" fmla="*/ 805 h 1134"/>
              <a:gd name="T30" fmla="*/ 1129 w 1135"/>
              <a:gd name="T31" fmla="*/ 880 h 1134"/>
              <a:gd name="T32" fmla="*/ 1117 w 1135"/>
              <a:gd name="T33" fmla="*/ 924 h 1134"/>
              <a:gd name="T34" fmla="*/ 1083 w 1135"/>
              <a:gd name="T35" fmla="*/ 993 h 1134"/>
              <a:gd name="T36" fmla="*/ 1054 w 1135"/>
              <a:gd name="T37" fmla="*/ 1031 h 1134"/>
              <a:gd name="T38" fmla="*/ 1019 w 1135"/>
              <a:gd name="T39" fmla="*/ 1064 h 1134"/>
              <a:gd name="T40" fmla="*/ 980 w 1135"/>
              <a:gd name="T41" fmla="*/ 1091 h 1134"/>
              <a:gd name="T42" fmla="*/ 938 w 1135"/>
              <a:gd name="T43" fmla="*/ 1112 h 1134"/>
              <a:gd name="T44" fmla="*/ 865 w 1135"/>
              <a:gd name="T45" fmla="*/ 1131 h 1134"/>
              <a:gd name="T46" fmla="*/ 820 w 1135"/>
              <a:gd name="T47" fmla="*/ 1134 h 1134"/>
              <a:gd name="T48" fmla="*/ 745 w 1135"/>
              <a:gd name="T49" fmla="*/ 1126 h 1134"/>
              <a:gd name="T50" fmla="*/ 701 w 1135"/>
              <a:gd name="T51" fmla="*/ 1112 h 1134"/>
              <a:gd name="T52" fmla="*/ 633 w 1135"/>
              <a:gd name="T53" fmla="*/ 1074 h 1134"/>
              <a:gd name="T54" fmla="*/ 597 w 1135"/>
              <a:gd name="T55" fmla="*/ 1043 h 1134"/>
              <a:gd name="T56" fmla="*/ 81 w 1135"/>
              <a:gd name="T57" fmla="*/ 526 h 1134"/>
              <a:gd name="T58" fmla="*/ 52 w 1135"/>
              <a:gd name="T59" fmla="*/ 489 h 1134"/>
              <a:gd name="T60" fmla="*/ 30 w 1135"/>
              <a:gd name="T61" fmla="*/ 448 h 1134"/>
              <a:gd name="T62" fmla="*/ 6 w 1135"/>
              <a:gd name="T63" fmla="*/ 375 h 1134"/>
              <a:gd name="T64" fmla="*/ 1 w 1135"/>
              <a:gd name="T65" fmla="*/ 330 h 1134"/>
              <a:gd name="T66" fmla="*/ 6 w 1135"/>
              <a:gd name="T67" fmla="*/ 255 h 1134"/>
              <a:gd name="T68" fmla="*/ 18 w 1135"/>
              <a:gd name="T69" fmla="*/ 211 h 1134"/>
              <a:gd name="T70" fmla="*/ 52 w 1135"/>
              <a:gd name="T71" fmla="*/ 142 h 1134"/>
              <a:gd name="T72" fmla="*/ 81 w 1135"/>
              <a:gd name="T73" fmla="*/ 104 h 1134"/>
              <a:gd name="T74" fmla="*/ 92 w 1135"/>
              <a:gd name="T75" fmla="*/ 92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35" h="1134">
                <a:moveTo>
                  <a:pt x="92" y="92"/>
                </a:moveTo>
                <a:cubicBezTo>
                  <a:pt x="104" y="81"/>
                  <a:pt x="116" y="71"/>
                  <a:pt x="129" y="61"/>
                </a:cubicBezTo>
                <a:cubicBezTo>
                  <a:pt x="142" y="52"/>
                  <a:pt x="155" y="44"/>
                  <a:pt x="169" y="36"/>
                </a:cubicBezTo>
                <a:cubicBezTo>
                  <a:pt x="192" y="25"/>
                  <a:pt x="215" y="16"/>
                  <a:pt x="240" y="9"/>
                </a:cubicBezTo>
                <a:cubicBezTo>
                  <a:pt x="255" y="6"/>
                  <a:pt x="270" y="4"/>
                  <a:pt x="285" y="2"/>
                </a:cubicBezTo>
                <a:cubicBezTo>
                  <a:pt x="311" y="0"/>
                  <a:pt x="335" y="1"/>
                  <a:pt x="360" y="4"/>
                </a:cubicBezTo>
                <a:cubicBezTo>
                  <a:pt x="376" y="6"/>
                  <a:pt x="390" y="9"/>
                  <a:pt x="405" y="13"/>
                </a:cubicBezTo>
                <a:cubicBezTo>
                  <a:pt x="430" y="21"/>
                  <a:pt x="452" y="31"/>
                  <a:pt x="475" y="44"/>
                </a:cubicBezTo>
                <a:cubicBezTo>
                  <a:pt x="502" y="61"/>
                  <a:pt x="502" y="61"/>
                  <a:pt x="502" y="61"/>
                </a:cubicBezTo>
                <a:cubicBezTo>
                  <a:pt x="514" y="71"/>
                  <a:pt x="526" y="81"/>
                  <a:pt x="538" y="92"/>
                </a:cubicBezTo>
                <a:cubicBezTo>
                  <a:pt x="1054" y="609"/>
                  <a:pt x="1054" y="609"/>
                  <a:pt x="1054" y="609"/>
                </a:cubicBezTo>
                <a:cubicBezTo>
                  <a:pt x="1064" y="621"/>
                  <a:pt x="1074" y="633"/>
                  <a:pt x="1083" y="646"/>
                </a:cubicBezTo>
                <a:cubicBezTo>
                  <a:pt x="1091" y="660"/>
                  <a:pt x="1098" y="673"/>
                  <a:pt x="1105" y="687"/>
                </a:cubicBezTo>
                <a:cubicBezTo>
                  <a:pt x="1116" y="711"/>
                  <a:pt x="1123" y="734"/>
                  <a:pt x="1129" y="760"/>
                </a:cubicBezTo>
                <a:cubicBezTo>
                  <a:pt x="1131" y="775"/>
                  <a:pt x="1133" y="789"/>
                  <a:pt x="1134" y="805"/>
                </a:cubicBezTo>
                <a:cubicBezTo>
                  <a:pt x="1135" y="831"/>
                  <a:pt x="1133" y="854"/>
                  <a:pt x="1129" y="880"/>
                </a:cubicBezTo>
                <a:cubicBezTo>
                  <a:pt x="1125" y="895"/>
                  <a:pt x="1122" y="909"/>
                  <a:pt x="1117" y="924"/>
                </a:cubicBezTo>
                <a:cubicBezTo>
                  <a:pt x="1108" y="949"/>
                  <a:pt x="1097" y="971"/>
                  <a:pt x="1083" y="993"/>
                </a:cubicBezTo>
                <a:cubicBezTo>
                  <a:pt x="1074" y="1006"/>
                  <a:pt x="1064" y="1019"/>
                  <a:pt x="1054" y="1031"/>
                </a:cubicBezTo>
                <a:cubicBezTo>
                  <a:pt x="1042" y="1043"/>
                  <a:pt x="1031" y="1053"/>
                  <a:pt x="1019" y="1064"/>
                </a:cubicBezTo>
                <a:cubicBezTo>
                  <a:pt x="1006" y="1074"/>
                  <a:pt x="993" y="1083"/>
                  <a:pt x="980" y="1091"/>
                </a:cubicBezTo>
                <a:cubicBezTo>
                  <a:pt x="966" y="1099"/>
                  <a:pt x="953" y="1105"/>
                  <a:pt x="938" y="1112"/>
                </a:cubicBezTo>
                <a:cubicBezTo>
                  <a:pt x="914" y="1121"/>
                  <a:pt x="891" y="1127"/>
                  <a:pt x="865" y="1131"/>
                </a:cubicBezTo>
                <a:cubicBezTo>
                  <a:pt x="850" y="1133"/>
                  <a:pt x="835" y="1134"/>
                  <a:pt x="820" y="1134"/>
                </a:cubicBezTo>
                <a:cubicBezTo>
                  <a:pt x="794" y="1134"/>
                  <a:pt x="770" y="1131"/>
                  <a:pt x="745" y="1126"/>
                </a:cubicBezTo>
                <a:cubicBezTo>
                  <a:pt x="730" y="1121"/>
                  <a:pt x="716" y="1117"/>
                  <a:pt x="701" y="1112"/>
                </a:cubicBezTo>
                <a:cubicBezTo>
                  <a:pt x="677" y="1101"/>
                  <a:pt x="655" y="1089"/>
                  <a:pt x="633" y="1074"/>
                </a:cubicBezTo>
                <a:cubicBezTo>
                  <a:pt x="621" y="1064"/>
                  <a:pt x="609" y="1054"/>
                  <a:pt x="597" y="1043"/>
                </a:cubicBezTo>
                <a:cubicBezTo>
                  <a:pt x="81" y="526"/>
                  <a:pt x="81" y="526"/>
                  <a:pt x="81" y="526"/>
                </a:cubicBezTo>
                <a:cubicBezTo>
                  <a:pt x="71" y="514"/>
                  <a:pt x="61" y="502"/>
                  <a:pt x="52" y="489"/>
                </a:cubicBezTo>
                <a:cubicBezTo>
                  <a:pt x="44" y="475"/>
                  <a:pt x="37" y="462"/>
                  <a:pt x="30" y="448"/>
                </a:cubicBezTo>
                <a:cubicBezTo>
                  <a:pt x="19" y="424"/>
                  <a:pt x="12" y="401"/>
                  <a:pt x="6" y="375"/>
                </a:cubicBezTo>
                <a:cubicBezTo>
                  <a:pt x="4" y="360"/>
                  <a:pt x="2" y="346"/>
                  <a:pt x="1" y="330"/>
                </a:cubicBezTo>
                <a:cubicBezTo>
                  <a:pt x="0" y="304"/>
                  <a:pt x="2" y="281"/>
                  <a:pt x="6" y="255"/>
                </a:cubicBezTo>
                <a:cubicBezTo>
                  <a:pt x="9" y="240"/>
                  <a:pt x="13" y="226"/>
                  <a:pt x="18" y="211"/>
                </a:cubicBezTo>
                <a:cubicBezTo>
                  <a:pt x="27" y="186"/>
                  <a:pt x="38" y="164"/>
                  <a:pt x="52" y="142"/>
                </a:cubicBezTo>
                <a:cubicBezTo>
                  <a:pt x="61" y="128"/>
                  <a:pt x="71" y="116"/>
                  <a:pt x="81" y="104"/>
                </a:cubicBezTo>
                <a:cubicBezTo>
                  <a:pt x="92" y="92"/>
                  <a:pt x="92" y="92"/>
                  <a:pt x="92" y="9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5609046" y="3152432"/>
            <a:ext cx="2778509" cy="2773661"/>
          </a:xfrm>
          <a:custGeom>
            <a:avLst/>
            <a:gdLst>
              <a:gd name="T0" fmla="*/ 106 w 1103"/>
              <a:gd name="T1" fmla="*/ 106 h 1103"/>
              <a:gd name="T2" fmla="*/ 106 w 1103"/>
              <a:gd name="T3" fmla="*/ 106 h 1103"/>
              <a:gd name="T4" fmla="*/ 492 w 1103"/>
              <a:gd name="T5" fmla="*/ 106 h 1103"/>
              <a:gd name="T6" fmla="*/ 997 w 1103"/>
              <a:gd name="T7" fmla="*/ 611 h 1103"/>
              <a:gd name="T8" fmla="*/ 997 w 1103"/>
              <a:gd name="T9" fmla="*/ 997 h 1103"/>
              <a:gd name="T10" fmla="*/ 997 w 1103"/>
              <a:gd name="T11" fmla="*/ 997 h 1103"/>
              <a:gd name="T12" fmla="*/ 611 w 1103"/>
              <a:gd name="T13" fmla="*/ 997 h 1103"/>
              <a:gd name="T14" fmla="*/ 106 w 1103"/>
              <a:gd name="T15" fmla="*/ 492 h 1103"/>
              <a:gd name="T16" fmla="*/ 106 w 1103"/>
              <a:gd name="T17" fmla="*/ 106 h 1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03" h="1103">
                <a:moveTo>
                  <a:pt x="106" y="106"/>
                </a:moveTo>
                <a:cubicBezTo>
                  <a:pt x="106" y="106"/>
                  <a:pt x="106" y="106"/>
                  <a:pt x="106" y="106"/>
                </a:cubicBezTo>
                <a:cubicBezTo>
                  <a:pt x="212" y="0"/>
                  <a:pt x="386" y="0"/>
                  <a:pt x="492" y="106"/>
                </a:cubicBezTo>
                <a:cubicBezTo>
                  <a:pt x="997" y="611"/>
                  <a:pt x="997" y="611"/>
                  <a:pt x="997" y="611"/>
                </a:cubicBezTo>
                <a:cubicBezTo>
                  <a:pt x="1103" y="717"/>
                  <a:pt x="1103" y="890"/>
                  <a:pt x="997" y="997"/>
                </a:cubicBezTo>
                <a:cubicBezTo>
                  <a:pt x="997" y="997"/>
                  <a:pt x="997" y="997"/>
                  <a:pt x="997" y="997"/>
                </a:cubicBezTo>
                <a:cubicBezTo>
                  <a:pt x="890" y="1103"/>
                  <a:pt x="717" y="1103"/>
                  <a:pt x="611" y="997"/>
                </a:cubicBezTo>
                <a:cubicBezTo>
                  <a:pt x="106" y="492"/>
                  <a:pt x="106" y="492"/>
                  <a:pt x="106" y="492"/>
                </a:cubicBezTo>
                <a:cubicBezTo>
                  <a:pt x="0" y="386"/>
                  <a:pt x="0" y="212"/>
                  <a:pt x="106" y="10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3767616" y="1313427"/>
            <a:ext cx="2858519" cy="2854883"/>
          </a:xfrm>
          <a:custGeom>
            <a:avLst/>
            <a:gdLst>
              <a:gd name="T0" fmla="*/ 1042 w 1135"/>
              <a:gd name="T1" fmla="*/ 1042 h 1135"/>
              <a:gd name="T2" fmla="*/ 1074 w 1135"/>
              <a:gd name="T3" fmla="*/ 1006 h 1135"/>
              <a:gd name="T4" fmla="*/ 1098 w 1135"/>
              <a:gd name="T5" fmla="*/ 966 h 1135"/>
              <a:gd name="T6" fmla="*/ 1125 w 1135"/>
              <a:gd name="T7" fmla="*/ 895 h 1135"/>
              <a:gd name="T8" fmla="*/ 1133 w 1135"/>
              <a:gd name="T9" fmla="*/ 850 h 1135"/>
              <a:gd name="T10" fmla="*/ 1131 w 1135"/>
              <a:gd name="T11" fmla="*/ 774 h 1135"/>
              <a:gd name="T12" fmla="*/ 1121 w 1135"/>
              <a:gd name="T13" fmla="*/ 730 h 1135"/>
              <a:gd name="T14" fmla="*/ 1091 w 1135"/>
              <a:gd name="T15" fmla="*/ 659 h 1135"/>
              <a:gd name="T16" fmla="*/ 1074 w 1135"/>
              <a:gd name="T17" fmla="*/ 633 h 1135"/>
              <a:gd name="T18" fmla="*/ 1043 w 1135"/>
              <a:gd name="T19" fmla="*/ 597 h 1135"/>
              <a:gd name="T20" fmla="*/ 526 w 1135"/>
              <a:gd name="T21" fmla="*/ 81 h 1135"/>
              <a:gd name="T22" fmla="*/ 488 w 1135"/>
              <a:gd name="T23" fmla="*/ 52 h 1135"/>
              <a:gd name="T24" fmla="*/ 448 w 1135"/>
              <a:gd name="T25" fmla="*/ 29 h 1135"/>
              <a:gd name="T26" fmla="*/ 375 w 1135"/>
              <a:gd name="T27" fmla="*/ 6 h 1135"/>
              <a:gd name="T28" fmla="*/ 330 w 1135"/>
              <a:gd name="T29" fmla="*/ 1 h 1135"/>
              <a:gd name="T30" fmla="*/ 255 w 1135"/>
              <a:gd name="T31" fmla="*/ 6 h 1135"/>
              <a:gd name="T32" fmla="*/ 211 w 1135"/>
              <a:gd name="T33" fmla="*/ 18 h 1135"/>
              <a:gd name="T34" fmla="*/ 142 w 1135"/>
              <a:gd name="T35" fmla="*/ 52 h 1135"/>
              <a:gd name="T36" fmla="*/ 104 w 1135"/>
              <a:gd name="T37" fmla="*/ 81 h 1135"/>
              <a:gd name="T38" fmla="*/ 71 w 1135"/>
              <a:gd name="T39" fmla="*/ 116 h 1135"/>
              <a:gd name="T40" fmla="*/ 44 w 1135"/>
              <a:gd name="T41" fmla="*/ 155 h 1135"/>
              <a:gd name="T42" fmla="*/ 23 w 1135"/>
              <a:gd name="T43" fmla="*/ 196 h 1135"/>
              <a:gd name="T44" fmla="*/ 3 w 1135"/>
              <a:gd name="T45" fmla="*/ 270 h 1135"/>
              <a:gd name="T46" fmla="*/ 0 w 1135"/>
              <a:gd name="T47" fmla="*/ 315 h 1135"/>
              <a:gd name="T48" fmla="*/ 9 w 1135"/>
              <a:gd name="T49" fmla="*/ 390 h 1135"/>
              <a:gd name="T50" fmla="*/ 23 w 1135"/>
              <a:gd name="T51" fmla="*/ 434 h 1135"/>
              <a:gd name="T52" fmla="*/ 61 w 1135"/>
              <a:gd name="T53" fmla="*/ 501 h 1135"/>
              <a:gd name="T54" fmla="*/ 92 w 1135"/>
              <a:gd name="T55" fmla="*/ 537 h 1135"/>
              <a:gd name="T56" fmla="*/ 608 w 1135"/>
              <a:gd name="T57" fmla="*/ 1053 h 1135"/>
              <a:gd name="T58" fmla="*/ 646 w 1135"/>
              <a:gd name="T59" fmla="*/ 1083 h 1135"/>
              <a:gd name="T60" fmla="*/ 687 w 1135"/>
              <a:gd name="T61" fmla="*/ 1105 h 1135"/>
              <a:gd name="T62" fmla="*/ 759 w 1135"/>
              <a:gd name="T63" fmla="*/ 1129 h 1135"/>
              <a:gd name="T64" fmla="*/ 804 w 1135"/>
              <a:gd name="T65" fmla="*/ 1134 h 1135"/>
              <a:gd name="T66" fmla="*/ 880 w 1135"/>
              <a:gd name="T67" fmla="*/ 1129 h 1135"/>
              <a:gd name="T68" fmla="*/ 924 w 1135"/>
              <a:gd name="T69" fmla="*/ 1117 h 1135"/>
              <a:gd name="T70" fmla="*/ 993 w 1135"/>
              <a:gd name="T71" fmla="*/ 1083 h 1135"/>
              <a:gd name="T72" fmla="*/ 1031 w 1135"/>
              <a:gd name="T73" fmla="*/ 1053 h 1135"/>
              <a:gd name="T74" fmla="*/ 1042 w 1135"/>
              <a:gd name="T75" fmla="*/ 1042 h 1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35" h="1135">
                <a:moveTo>
                  <a:pt x="1042" y="1042"/>
                </a:moveTo>
                <a:cubicBezTo>
                  <a:pt x="1054" y="1031"/>
                  <a:pt x="1064" y="1019"/>
                  <a:pt x="1074" y="1006"/>
                </a:cubicBezTo>
                <a:cubicBezTo>
                  <a:pt x="1083" y="993"/>
                  <a:pt x="1091" y="980"/>
                  <a:pt x="1098" y="966"/>
                </a:cubicBezTo>
                <a:cubicBezTo>
                  <a:pt x="1110" y="942"/>
                  <a:pt x="1118" y="920"/>
                  <a:pt x="1125" y="895"/>
                </a:cubicBezTo>
                <a:cubicBezTo>
                  <a:pt x="1129" y="880"/>
                  <a:pt x="1131" y="865"/>
                  <a:pt x="1133" y="850"/>
                </a:cubicBezTo>
                <a:cubicBezTo>
                  <a:pt x="1135" y="824"/>
                  <a:pt x="1134" y="800"/>
                  <a:pt x="1131" y="774"/>
                </a:cubicBezTo>
                <a:cubicBezTo>
                  <a:pt x="1128" y="759"/>
                  <a:pt x="1125" y="745"/>
                  <a:pt x="1121" y="730"/>
                </a:cubicBezTo>
                <a:cubicBezTo>
                  <a:pt x="1113" y="705"/>
                  <a:pt x="1104" y="682"/>
                  <a:pt x="1091" y="659"/>
                </a:cubicBezTo>
                <a:cubicBezTo>
                  <a:pt x="1074" y="633"/>
                  <a:pt x="1074" y="633"/>
                  <a:pt x="1074" y="633"/>
                </a:cubicBezTo>
                <a:cubicBezTo>
                  <a:pt x="1064" y="620"/>
                  <a:pt x="1054" y="609"/>
                  <a:pt x="1043" y="597"/>
                </a:cubicBezTo>
                <a:cubicBezTo>
                  <a:pt x="526" y="81"/>
                  <a:pt x="526" y="81"/>
                  <a:pt x="526" y="81"/>
                </a:cubicBezTo>
                <a:cubicBezTo>
                  <a:pt x="514" y="71"/>
                  <a:pt x="502" y="61"/>
                  <a:pt x="488" y="52"/>
                </a:cubicBezTo>
                <a:cubicBezTo>
                  <a:pt x="475" y="44"/>
                  <a:pt x="462" y="36"/>
                  <a:pt x="448" y="29"/>
                </a:cubicBezTo>
                <a:cubicBezTo>
                  <a:pt x="424" y="19"/>
                  <a:pt x="401" y="12"/>
                  <a:pt x="375" y="6"/>
                </a:cubicBezTo>
                <a:cubicBezTo>
                  <a:pt x="360" y="3"/>
                  <a:pt x="345" y="2"/>
                  <a:pt x="330" y="1"/>
                </a:cubicBezTo>
                <a:cubicBezTo>
                  <a:pt x="304" y="0"/>
                  <a:pt x="280" y="2"/>
                  <a:pt x="255" y="6"/>
                </a:cubicBezTo>
                <a:cubicBezTo>
                  <a:pt x="240" y="9"/>
                  <a:pt x="225" y="13"/>
                  <a:pt x="211" y="18"/>
                </a:cubicBezTo>
                <a:cubicBezTo>
                  <a:pt x="186" y="27"/>
                  <a:pt x="164" y="38"/>
                  <a:pt x="142" y="52"/>
                </a:cubicBezTo>
                <a:cubicBezTo>
                  <a:pt x="128" y="61"/>
                  <a:pt x="116" y="71"/>
                  <a:pt x="104" y="81"/>
                </a:cubicBezTo>
                <a:cubicBezTo>
                  <a:pt x="92" y="92"/>
                  <a:pt x="81" y="104"/>
                  <a:pt x="71" y="116"/>
                </a:cubicBezTo>
                <a:cubicBezTo>
                  <a:pt x="61" y="129"/>
                  <a:pt x="52" y="141"/>
                  <a:pt x="44" y="155"/>
                </a:cubicBezTo>
                <a:cubicBezTo>
                  <a:pt x="36" y="169"/>
                  <a:pt x="29" y="182"/>
                  <a:pt x="23" y="196"/>
                </a:cubicBezTo>
                <a:cubicBezTo>
                  <a:pt x="14" y="221"/>
                  <a:pt x="8" y="244"/>
                  <a:pt x="3" y="270"/>
                </a:cubicBezTo>
                <a:cubicBezTo>
                  <a:pt x="2" y="285"/>
                  <a:pt x="1" y="300"/>
                  <a:pt x="0" y="315"/>
                </a:cubicBezTo>
                <a:cubicBezTo>
                  <a:pt x="1" y="341"/>
                  <a:pt x="4" y="365"/>
                  <a:pt x="9" y="390"/>
                </a:cubicBezTo>
                <a:cubicBezTo>
                  <a:pt x="13" y="405"/>
                  <a:pt x="18" y="419"/>
                  <a:pt x="23" y="434"/>
                </a:cubicBezTo>
                <a:cubicBezTo>
                  <a:pt x="34" y="458"/>
                  <a:pt x="46" y="479"/>
                  <a:pt x="61" y="501"/>
                </a:cubicBezTo>
                <a:cubicBezTo>
                  <a:pt x="71" y="514"/>
                  <a:pt x="81" y="526"/>
                  <a:pt x="92" y="537"/>
                </a:cubicBezTo>
                <a:cubicBezTo>
                  <a:pt x="608" y="1053"/>
                  <a:pt x="608" y="1053"/>
                  <a:pt x="608" y="1053"/>
                </a:cubicBezTo>
                <a:cubicBezTo>
                  <a:pt x="621" y="1064"/>
                  <a:pt x="633" y="1073"/>
                  <a:pt x="646" y="1083"/>
                </a:cubicBezTo>
                <a:cubicBezTo>
                  <a:pt x="659" y="1091"/>
                  <a:pt x="673" y="1098"/>
                  <a:pt x="687" y="1105"/>
                </a:cubicBezTo>
                <a:cubicBezTo>
                  <a:pt x="711" y="1116"/>
                  <a:pt x="734" y="1123"/>
                  <a:pt x="759" y="1129"/>
                </a:cubicBezTo>
                <a:cubicBezTo>
                  <a:pt x="774" y="1131"/>
                  <a:pt x="789" y="1133"/>
                  <a:pt x="804" y="1134"/>
                </a:cubicBezTo>
                <a:cubicBezTo>
                  <a:pt x="830" y="1135"/>
                  <a:pt x="854" y="1133"/>
                  <a:pt x="880" y="1129"/>
                </a:cubicBezTo>
                <a:cubicBezTo>
                  <a:pt x="895" y="1125"/>
                  <a:pt x="909" y="1121"/>
                  <a:pt x="924" y="1117"/>
                </a:cubicBezTo>
                <a:cubicBezTo>
                  <a:pt x="949" y="1107"/>
                  <a:pt x="970" y="1097"/>
                  <a:pt x="993" y="1083"/>
                </a:cubicBezTo>
                <a:cubicBezTo>
                  <a:pt x="1006" y="1073"/>
                  <a:pt x="1018" y="1064"/>
                  <a:pt x="1031" y="1053"/>
                </a:cubicBezTo>
                <a:cubicBezTo>
                  <a:pt x="1042" y="1042"/>
                  <a:pt x="1042" y="1042"/>
                  <a:pt x="1042" y="10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任意多边形: 形状 12"/>
          <p:cNvSpPr/>
          <p:nvPr/>
        </p:nvSpPr>
        <p:spPr bwMode="auto">
          <a:xfrm>
            <a:off x="3807621" y="1354644"/>
            <a:ext cx="2776084" cy="2770024"/>
          </a:xfrm>
          <a:custGeom>
            <a:avLst/>
            <a:gdLst>
              <a:gd name="T0" fmla="*/ 996 w 1102"/>
              <a:gd name="T1" fmla="*/ 996 h 1102"/>
              <a:gd name="T2" fmla="*/ 996 w 1102"/>
              <a:gd name="T3" fmla="*/ 996 h 1102"/>
              <a:gd name="T4" fmla="*/ 996 w 1102"/>
              <a:gd name="T5" fmla="*/ 611 h 1102"/>
              <a:gd name="T6" fmla="*/ 492 w 1102"/>
              <a:gd name="T7" fmla="*/ 106 h 1102"/>
              <a:gd name="T8" fmla="*/ 106 w 1102"/>
              <a:gd name="T9" fmla="*/ 106 h 1102"/>
              <a:gd name="T10" fmla="*/ 106 w 1102"/>
              <a:gd name="T11" fmla="*/ 106 h 1102"/>
              <a:gd name="T12" fmla="*/ 106 w 1102"/>
              <a:gd name="T13" fmla="*/ 492 h 1102"/>
              <a:gd name="T14" fmla="*/ 611 w 1102"/>
              <a:gd name="T15" fmla="*/ 996 h 1102"/>
              <a:gd name="T16" fmla="*/ 996 w 1102"/>
              <a:gd name="T17" fmla="*/ 996 h 1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02" h="1102">
                <a:moveTo>
                  <a:pt x="996" y="996"/>
                </a:moveTo>
                <a:cubicBezTo>
                  <a:pt x="996" y="996"/>
                  <a:pt x="996" y="996"/>
                  <a:pt x="996" y="996"/>
                </a:cubicBezTo>
                <a:cubicBezTo>
                  <a:pt x="1102" y="890"/>
                  <a:pt x="1102" y="717"/>
                  <a:pt x="996" y="611"/>
                </a:cubicBezTo>
                <a:cubicBezTo>
                  <a:pt x="492" y="106"/>
                  <a:pt x="492" y="106"/>
                  <a:pt x="492" y="106"/>
                </a:cubicBezTo>
                <a:cubicBezTo>
                  <a:pt x="386" y="0"/>
                  <a:pt x="212" y="0"/>
                  <a:pt x="106" y="106"/>
                </a:cubicBezTo>
                <a:cubicBezTo>
                  <a:pt x="106" y="106"/>
                  <a:pt x="106" y="106"/>
                  <a:pt x="106" y="106"/>
                </a:cubicBezTo>
                <a:cubicBezTo>
                  <a:pt x="0" y="212"/>
                  <a:pt x="0" y="386"/>
                  <a:pt x="106" y="492"/>
                </a:cubicBezTo>
                <a:cubicBezTo>
                  <a:pt x="611" y="996"/>
                  <a:pt x="611" y="996"/>
                  <a:pt x="611" y="996"/>
                </a:cubicBezTo>
                <a:cubicBezTo>
                  <a:pt x="717" y="1102"/>
                  <a:pt x="890" y="1102"/>
                  <a:pt x="996" y="99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椭圆 13"/>
          <p:cNvSpPr/>
          <p:nvPr/>
        </p:nvSpPr>
        <p:spPr bwMode="auto">
          <a:xfrm>
            <a:off x="4623474" y="2169285"/>
            <a:ext cx="2948226" cy="294216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/>
          <p:cNvSpPr/>
          <p:nvPr/>
        </p:nvSpPr>
        <p:spPr bwMode="auto">
          <a:xfrm>
            <a:off x="4732578" y="2277177"/>
            <a:ext cx="1311670" cy="1310458"/>
          </a:xfrm>
          <a:custGeom>
            <a:avLst/>
            <a:gdLst>
              <a:gd name="T0" fmla="*/ 0 w 521"/>
              <a:gd name="T1" fmla="*/ 521 h 521"/>
              <a:gd name="T2" fmla="*/ 521 w 521"/>
              <a:gd name="T3" fmla="*/ 0 h 521"/>
              <a:gd name="T4" fmla="*/ 521 w 521"/>
              <a:gd name="T5" fmla="*/ 521 h 521"/>
              <a:gd name="T6" fmla="*/ 0 w 521"/>
              <a:gd name="T7" fmla="*/ 521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1" h="521">
                <a:moveTo>
                  <a:pt x="0" y="521"/>
                </a:moveTo>
                <a:cubicBezTo>
                  <a:pt x="11" y="239"/>
                  <a:pt x="239" y="11"/>
                  <a:pt x="521" y="0"/>
                </a:cubicBezTo>
                <a:cubicBezTo>
                  <a:pt x="521" y="521"/>
                  <a:pt x="521" y="521"/>
                  <a:pt x="521" y="521"/>
                </a:cubicBezTo>
                <a:cubicBezTo>
                  <a:pt x="0" y="521"/>
                  <a:pt x="0" y="521"/>
                  <a:pt x="0" y="52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anchor="ctr" anchorCtr="1" compatLnSpc="1">
            <a:normAutofit/>
          </a:bodyPr>
          <a:lstStyle/>
          <a:p>
            <a:pPr algn="r"/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zh-CN" altLang="en-US"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任意多边形: 形状 15"/>
          <p:cNvSpPr/>
          <p:nvPr/>
        </p:nvSpPr>
        <p:spPr bwMode="auto">
          <a:xfrm>
            <a:off x="4732578" y="3690678"/>
            <a:ext cx="1311670" cy="1311670"/>
          </a:xfrm>
          <a:custGeom>
            <a:avLst/>
            <a:gdLst>
              <a:gd name="T0" fmla="*/ 521 w 521"/>
              <a:gd name="T1" fmla="*/ 522 h 522"/>
              <a:gd name="T2" fmla="*/ 0 w 521"/>
              <a:gd name="T3" fmla="*/ 0 h 522"/>
              <a:gd name="T4" fmla="*/ 521 w 521"/>
              <a:gd name="T5" fmla="*/ 0 h 522"/>
              <a:gd name="T6" fmla="*/ 521 w 521"/>
              <a:gd name="T7" fmla="*/ 522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1" h="522">
                <a:moveTo>
                  <a:pt x="521" y="522"/>
                </a:moveTo>
                <a:cubicBezTo>
                  <a:pt x="239" y="511"/>
                  <a:pt x="11" y="283"/>
                  <a:pt x="0" y="0"/>
                </a:cubicBezTo>
                <a:cubicBezTo>
                  <a:pt x="521" y="0"/>
                  <a:pt x="521" y="0"/>
                  <a:pt x="521" y="0"/>
                </a:cubicBezTo>
                <a:cubicBezTo>
                  <a:pt x="521" y="522"/>
                  <a:pt x="521" y="522"/>
                  <a:pt x="521" y="52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anchor="ctr" anchorCtr="1" compatLnSpc="1">
            <a:normAutofit/>
          </a:bodyPr>
          <a:lstStyle/>
          <a:p>
            <a:pPr algn="r"/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zh-CN" altLang="en-US"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任意多边形: 形状 16"/>
          <p:cNvSpPr/>
          <p:nvPr/>
        </p:nvSpPr>
        <p:spPr bwMode="auto">
          <a:xfrm>
            <a:off x="6148504" y="3690678"/>
            <a:ext cx="1314095" cy="1311670"/>
          </a:xfrm>
          <a:custGeom>
            <a:avLst/>
            <a:gdLst>
              <a:gd name="T0" fmla="*/ 522 w 522"/>
              <a:gd name="T1" fmla="*/ 0 h 522"/>
              <a:gd name="T2" fmla="*/ 0 w 522"/>
              <a:gd name="T3" fmla="*/ 522 h 522"/>
              <a:gd name="T4" fmla="*/ 0 w 522"/>
              <a:gd name="T5" fmla="*/ 0 h 522"/>
              <a:gd name="T6" fmla="*/ 522 w 522"/>
              <a:gd name="T7" fmla="*/ 0 h 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2" h="522">
                <a:moveTo>
                  <a:pt x="522" y="0"/>
                </a:moveTo>
                <a:cubicBezTo>
                  <a:pt x="511" y="283"/>
                  <a:pt x="283" y="511"/>
                  <a:pt x="0" y="522"/>
                </a:cubicBezTo>
                <a:cubicBezTo>
                  <a:pt x="0" y="0"/>
                  <a:pt x="0" y="0"/>
                  <a:pt x="0" y="0"/>
                </a:cubicBezTo>
                <a:cubicBezTo>
                  <a:pt x="522" y="0"/>
                  <a:pt x="522" y="0"/>
                  <a:pt x="5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anchor="ctr" anchorCtr="1" compatLnSpc="1">
            <a:normAutofit/>
          </a:bodyPr>
          <a:lstStyle/>
          <a:p>
            <a:pPr algn="r"/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zh-CN" altLang="en-US"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任意多边形: 形状 17"/>
          <p:cNvSpPr/>
          <p:nvPr/>
        </p:nvSpPr>
        <p:spPr bwMode="auto">
          <a:xfrm>
            <a:off x="6148504" y="2277177"/>
            <a:ext cx="1314095" cy="1310458"/>
          </a:xfrm>
          <a:custGeom>
            <a:avLst/>
            <a:gdLst>
              <a:gd name="T0" fmla="*/ 0 w 522"/>
              <a:gd name="T1" fmla="*/ 0 h 521"/>
              <a:gd name="T2" fmla="*/ 522 w 522"/>
              <a:gd name="T3" fmla="*/ 521 h 521"/>
              <a:gd name="T4" fmla="*/ 0 w 522"/>
              <a:gd name="T5" fmla="*/ 521 h 521"/>
              <a:gd name="T6" fmla="*/ 0 w 522"/>
              <a:gd name="T7" fmla="*/ 0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2" h="521">
                <a:moveTo>
                  <a:pt x="0" y="0"/>
                </a:moveTo>
                <a:cubicBezTo>
                  <a:pt x="283" y="11"/>
                  <a:pt x="511" y="239"/>
                  <a:pt x="522" y="521"/>
                </a:cubicBezTo>
                <a:cubicBezTo>
                  <a:pt x="0" y="521"/>
                  <a:pt x="0" y="521"/>
                  <a:pt x="0" y="521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anchor="ctr" anchorCtr="1" compatLnSpc="1">
            <a:normAutofit/>
          </a:bodyPr>
          <a:lstStyle/>
          <a:p>
            <a:pPr algn="r"/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zh-CN" altLang="en-US"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 bwMode="auto">
          <a:xfrm>
            <a:off x="5428412" y="2971916"/>
            <a:ext cx="1335926" cy="1334482"/>
          </a:xfrm>
          <a:custGeom>
            <a:avLst/>
            <a:gdLst>
              <a:gd name="T0" fmla="*/ 79 w 445"/>
              <a:gd name="T1" fmla="*/ 79 h 445"/>
              <a:gd name="T2" fmla="*/ 79 w 445"/>
              <a:gd name="T3" fmla="*/ 366 h 445"/>
              <a:gd name="T4" fmla="*/ 366 w 445"/>
              <a:gd name="T5" fmla="*/ 366 h 445"/>
              <a:gd name="T6" fmla="*/ 366 w 445"/>
              <a:gd name="T7" fmla="*/ 79 h 445"/>
              <a:gd name="T8" fmla="*/ 79 w 445"/>
              <a:gd name="T9" fmla="*/ 79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5" h="445">
                <a:moveTo>
                  <a:pt x="79" y="79"/>
                </a:moveTo>
                <a:cubicBezTo>
                  <a:pt x="0" y="158"/>
                  <a:pt x="0" y="287"/>
                  <a:pt x="79" y="366"/>
                </a:cubicBezTo>
                <a:cubicBezTo>
                  <a:pt x="158" y="445"/>
                  <a:pt x="287" y="445"/>
                  <a:pt x="366" y="366"/>
                </a:cubicBezTo>
                <a:cubicBezTo>
                  <a:pt x="445" y="287"/>
                  <a:pt x="445" y="158"/>
                  <a:pt x="366" y="79"/>
                </a:cubicBezTo>
                <a:cubicBezTo>
                  <a:pt x="287" y="0"/>
                  <a:pt x="158" y="0"/>
                  <a:pt x="79" y="79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  <a:cs typeface="+mn-ea"/>
                <a:sym typeface="+mn-lt"/>
              </a:rPr>
              <a:t>Te</a:t>
            </a:r>
            <a:r>
              <a:rPr lang="en-US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b="1">
                <a:solidFill>
                  <a:schemeClr val="tx1"/>
                </a:solidFill>
                <a:cs typeface="+mn-ea"/>
                <a:sym typeface="+mn-lt"/>
              </a:rPr>
              <a:t>xt</a:t>
            </a:r>
            <a:endParaRPr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 bwMode="auto">
          <a:xfrm>
            <a:off x="7353291" y="1840861"/>
            <a:ext cx="541072" cy="567414"/>
          </a:xfrm>
          <a:custGeom>
            <a:avLst/>
            <a:gdLst>
              <a:gd name="connsiteX0" fmla="*/ 271981 w 578354"/>
              <a:gd name="connsiteY0" fmla="*/ 340887 h 606510"/>
              <a:gd name="connsiteX1" fmla="*/ 256365 w 578354"/>
              <a:gd name="connsiteY1" fmla="*/ 346409 h 606510"/>
              <a:gd name="connsiteX2" fmla="*/ 251051 w 578354"/>
              <a:gd name="connsiteY2" fmla="*/ 352798 h 606510"/>
              <a:gd name="connsiteX3" fmla="*/ 251051 w 578354"/>
              <a:gd name="connsiteY3" fmla="*/ 368716 h 606510"/>
              <a:gd name="connsiteX4" fmla="*/ 248665 w 578354"/>
              <a:gd name="connsiteY4" fmla="*/ 370449 h 606510"/>
              <a:gd name="connsiteX5" fmla="*/ 247038 w 578354"/>
              <a:gd name="connsiteY5" fmla="*/ 375322 h 606510"/>
              <a:gd name="connsiteX6" fmla="*/ 250509 w 578354"/>
              <a:gd name="connsiteY6" fmla="*/ 409431 h 606510"/>
              <a:gd name="connsiteX7" fmla="*/ 255172 w 578354"/>
              <a:gd name="connsiteY7" fmla="*/ 414954 h 606510"/>
              <a:gd name="connsiteX8" fmla="*/ 256907 w 578354"/>
              <a:gd name="connsiteY8" fmla="*/ 415170 h 606510"/>
              <a:gd name="connsiteX9" fmla="*/ 262004 w 578354"/>
              <a:gd name="connsiteY9" fmla="*/ 412572 h 606510"/>
              <a:gd name="connsiteX10" fmla="*/ 280114 w 578354"/>
              <a:gd name="connsiteY10" fmla="*/ 388749 h 606510"/>
              <a:gd name="connsiteX11" fmla="*/ 281307 w 578354"/>
              <a:gd name="connsiteY11" fmla="*/ 384851 h 606510"/>
              <a:gd name="connsiteX12" fmla="*/ 281307 w 578354"/>
              <a:gd name="connsiteY12" fmla="*/ 346626 h 606510"/>
              <a:gd name="connsiteX13" fmla="*/ 278270 w 578354"/>
              <a:gd name="connsiteY13" fmla="*/ 341104 h 606510"/>
              <a:gd name="connsiteX14" fmla="*/ 271981 w 578354"/>
              <a:gd name="connsiteY14" fmla="*/ 340887 h 606510"/>
              <a:gd name="connsiteX15" fmla="*/ 190755 w 578354"/>
              <a:gd name="connsiteY15" fmla="*/ 340887 h 606510"/>
              <a:gd name="connsiteX16" fmla="*/ 184357 w 578354"/>
              <a:gd name="connsiteY16" fmla="*/ 341104 h 606510"/>
              <a:gd name="connsiteX17" fmla="*/ 181321 w 578354"/>
              <a:gd name="connsiteY17" fmla="*/ 346626 h 606510"/>
              <a:gd name="connsiteX18" fmla="*/ 181212 w 578354"/>
              <a:gd name="connsiteY18" fmla="*/ 384851 h 606510"/>
              <a:gd name="connsiteX19" fmla="*/ 182513 w 578354"/>
              <a:gd name="connsiteY19" fmla="*/ 388749 h 606510"/>
              <a:gd name="connsiteX20" fmla="*/ 200624 w 578354"/>
              <a:gd name="connsiteY20" fmla="*/ 412680 h 606510"/>
              <a:gd name="connsiteX21" fmla="*/ 205721 w 578354"/>
              <a:gd name="connsiteY21" fmla="*/ 415170 h 606510"/>
              <a:gd name="connsiteX22" fmla="*/ 207456 w 578354"/>
              <a:gd name="connsiteY22" fmla="*/ 414954 h 606510"/>
              <a:gd name="connsiteX23" fmla="*/ 212119 w 578354"/>
              <a:gd name="connsiteY23" fmla="*/ 409431 h 606510"/>
              <a:gd name="connsiteX24" fmla="*/ 215589 w 578354"/>
              <a:gd name="connsiteY24" fmla="*/ 375322 h 606510"/>
              <a:gd name="connsiteX25" fmla="*/ 213963 w 578354"/>
              <a:gd name="connsiteY25" fmla="*/ 370449 h 606510"/>
              <a:gd name="connsiteX26" fmla="*/ 211577 w 578354"/>
              <a:gd name="connsiteY26" fmla="*/ 368716 h 606510"/>
              <a:gd name="connsiteX27" fmla="*/ 211577 w 578354"/>
              <a:gd name="connsiteY27" fmla="*/ 352798 h 606510"/>
              <a:gd name="connsiteX28" fmla="*/ 206263 w 578354"/>
              <a:gd name="connsiteY28" fmla="*/ 346409 h 606510"/>
              <a:gd name="connsiteX29" fmla="*/ 190755 w 578354"/>
              <a:gd name="connsiteY29" fmla="*/ 340887 h 606510"/>
              <a:gd name="connsiteX30" fmla="*/ 200624 w 578354"/>
              <a:gd name="connsiteY30" fmla="*/ 168497 h 606510"/>
              <a:gd name="connsiteX31" fmla="*/ 156161 w 578354"/>
              <a:gd name="connsiteY31" fmla="*/ 180300 h 606510"/>
              <a:gd name="connsiteX32" fmla="*/ 152583 w 578354"/>
              <a:gd name="connsiteY32" fmla="*/ 186039 h 606510"/>
              <a:gd name="connsiteX33" fmla="*/ 152583 w 578354"/>
              <a:gd name="connsiteY33" fmla="*/ 197518 h 606510"/>
              <a:gd name="connsiteX34" fmla="*/ 149980 w 578354"/>
              <a:gd name="connsiteY34" fmla="*/ 197518 h 606510"/>
              <a:gd name="connsiteX35" fmla="*/ 143473 w 578354"/>
              <a:gd name="connsiteY35" fmla="*/ 203906 h 606510"/>
              <a:gd name="connsiteX36" fmla="*/ 143473 w 578354"/>
              <a:gd name="connsiteY36" fmla="*/ 214410 h 606510"/>
              <a:gd name="connsiteX37" fmla="*/ 146401 w 578354"/>
              <a:gd name="connsiteY37" fmla="*/ 219824 h 606510"/>
              <a:gd name="connsiteX38" fmla="*/ 152691 w 578354"/>
              <a:gd name="connsiteY38" fmla="*/ 223831 h 606510"/>
              <a:gd name="connsiteX39" fmla="*/ 153016 w 578354"/>
              <a:gd name="connsiteY39" fmla="*/ 226538 h 606510"/>
              <a:gd name="connsiteX40" fmla="*/ 176007 w 578354"/>
              <a:gd name="connsiteY40" fmla="*/ 279598 h 606510"/>
              <a:gd name="connsiteX41" fmla="*/ 214071 w 578354"/>
              <a:gd name="connsiteY41" fmla="*/ 312516 h 606510"/>
              <a:gd name="connsiteX42" fmla="*/ 248557 w 578354"/>
              <a:gd name="connsiteY42" fmla="*/ 312516 h 606510"/>
              <a:gd name="connsiteX43" fmla="*/ 286621 w 578354"/>
              <a:gd name="connsiteY43" fmla="*/ 279598 h 606510"/>
              <a:gd name="connsiteX44" fmla="*/ 309611 w 578354"/>
              <a:gd name="connsiteY44" fmla="*/ 226538 h 606510"/>
              <a:gd name="connsiteX45" fmla="*/ 309936 w 578354"/>
              <a:gd name="connsiteY45" fmla="*/ 223831 h 606510"/>
              <a:gd name="connsiteX46" fmla="*/ 316226 w 578354"/>
              <a:gd name="connsiteY46" fmla="*/ 219824 h 606510"/>
              <a:gd name="connsiteX47" fmla="*/ 319154 w 578354"/>
              <a:gd name="connsiteY47" fmla="*/ 214410 h 606510"/>
              <a:gd name="connsiteX48" fmla="*/ 319154 w 578354"/>
              <a:gd name="connsiteY48" fmla="*/ 203906 h 606510"/>
              <a:gd name="connsiteX49" fmla="*/ 312756 w 578354"/>
              <a:gd name="connsiteY49" fmla="*/ 197518 h 606510"/>
              <a:gd name="connsiteX50" fmla="*/ 309177 w 578354"/>
              <a:gd name="connsiteY50" fmla="*/ 197518 h 606510"/>
              <a:gd name="connsiteX51" fmla="*/ 307117 w 578354"/>
              <a:gd name="connsiteY51" fmla="*/ 195352 h 606510"/>
              <a:gd name="connsiteX52" fmla="*/ 301044 w 578354"/>
              <a:gd name="connsiteY52" fmla="*/ 194919 h 606510"/>
              <a:gd name="connsiteX53" fmla="*/ 275668 w 578354"/>
              <a:gd name="connsiteY53" fmla="*/ 200658 h 606510"/>
              <a:gd name="connsiteX54" fmla="*/ 236302 w 578354"/>
              <a:gd name="connsiteY54" fmla="*/ 182791 h 606510"/>
              <a:gd name="connsiteX55" fmla="*/ 200624 w 578354"/>
              <a:gd name="connsiteY55" fmla="*/ 168497 h 606510"/>
              <a:gd name="connsiteX56" fmla="*/ 426321 w 578354"/>
              <a:gd name="connsiteY56" fmla="*/ 71765 h 606510"/>
              <a:gd name="connsiteX57" fmla="*/ 439012 w 578354"/>
              <a:gd name="connsiteY57" fmla="*/ 84331 h 606510"/>
              <a:gd name="connsiteX58" fmla="*/ 439012 w 578354"/>
              <a:gd name="connsiteY58" fmla="*/ 99173 h 606510"/>
              <a:gd name="connsiteX59" fmla="*/ 464721 w 578354"/>
              <a:gd name="connsiteY59" fmla="*/ 112498 h 606510"/>
              <a:gd name="connsiteX60" fmla="*/ 467758 w 578354"/>
              <a:gd name="connsiteY60" fmla="*/ 124306 h 606510"/>
              <a:gd name="connsiteX61" fmla="*/ 459297 w 578354"/>
              <a:gd name="connsiteY61" fmla="*/ 133080 h 606510"/>
              <a:gd name="connsiteX62" fmla="*/ 452789 w 578354"/>
              <a:gd name="connsiteY62" fmla="*/ 135139 h 606510"/>
              <a:gd name="connsiteX63" fmla="*/ 439555 w 578354"/>
              <a:gd name="connsiteY63" fmla="*/ 131455 h 606510"/>
              <a:gd name="connsiteX64" fmla="*/ 425019 w 578354"/>
              <a:gd name="connsiteY64" fmla="*/ 125931 h 606510"/>
              <a:gd name="connsiteX65" fmla="*/ 413738 w 578354"/>
              <a:gd name="connsiteY65" fmla="*/ 132972 h 606510"/>
              <a:gd name="connsiteX66" fmla="*/ 415582 w 578354"/>
              <a:gd name="connsiteY66" fmla="*/ 137197 h 606510"/>
              <a:gd name="connsiteX67" fmla="*/ 426429 w 578354"/>
              <a:gd name="connsiteY67" fmla="*/ 140989 h 606510"/>
              <a:gd name="connsiteX68" fmla="*/ 456043 w 578354"/>
              <a:gd name="connsiteY68" fmla="*/ 149113 h 606510"/>
              <a:gd name="connsiteX69" fmla="*/ 471230 w 578354"/>
              <a:gd name="connsiteY69" fmla="*/ 161355 h 606510"/>
              <a:gd name="connsiteX70" fmla="*/ 477304 w 578354"/>
              <a:gd name="connsiteY70" fmla="*/ 181829 h 606510"/>
              <a:gd name="connsiteX71" fmla="*/ 465480 w 578354"/>
              <a:gd name="connsiteY71" fmla="*/ 209454 h 606510"/>
              <a:gd name="connsiteX72" fmla="*/ 439012 w 578354"/>
              <a:gd name="connsiteY72" fmla="*/ 222020 h 606510"/>
              <a:gd name="connsiteX73" fmla="*/ 439012 w 578354"/>
              <a:gd name="connsiteY73" fmla="*/ 242278 h 606510"/>
              <a:gd name="connsiteX74" fmla="*/ 426321 w 578354"/>
              <a:gd name="connsiteY74" fmla="*/ 254953 h 606510"/>
              <a:gd name="connsiteX75" fmla="*/ 413738 w 578354"/>
              <a:gd name="connsiteY75" fmla="*/ 242278 h 606510"/>
              <a:gd name="connsiteX76" fmla="*/ 413738 w 578354"/>
              <a:gd name="connsiteY76" fmla="*/ 222670 h 606510"/>
              <a:gd name="connsiteX77" fmla="*/ 378158 w 578354"/>
              <a:gd name="connsiteY77" fmla="*/ 202087 h 606510"/>
              <a:gd name="connsiteX78" fmla="*/ 377073 w 578354"/>
              <a:gd name="connsiteY78" fmla="*/ 190171 h 606510"/>
              <a:gd name="connsiteX79" fmla="*/ 386402 w 578354"/>
              <a:gd name="connsiteY79" fmla="*/ 182696 h 606510"/>
              <a:gd name="connsiteX80" fmla="*/ 395948 w 578354"/>
              <a:gd name="connsiteY80" fmla="*/ 180963 h 606510"/>
              <a:gd name="connsiteX81" fmla="*/ 408531 w 578354"/>
              <a:gd name="connsiteY81" fmla="*/ 186163 h 606510"/>
              <a:gd name="connsiteX82" fmla="*/ 426646 w 578354"/>
              <a:gd name="connsiteY82" fmla="*/ 193963 h 606510"/>
              <a:gd name="connsiteX83" fmla="*/ 439555 w 578354"/>
              <a:gd name="connsiteY83" fmla="*/ 187138 h 606510"/>
              <a:gd name="connsiteX84" fmla="*/ 436626 w 578354"/>
              <a:gd name="connsiteY84" fmla="*/ 181504 h 606510"/>
              <a:gd name="connsiteX85" fmla="*/ 425778 w 578354"/>
              <a:gd name="connsiteY85" fmla="*/ 177821 h 606510"/>
              <a:gd name="connsiteX86" fmla="*/ 385534 w 578354"/>
              <a:gd name="connsiteY86" fmla="*/ 161355 h 606510"/>
              <a:gd name="connsiteX87" fmla="*/ 376964 w 578354"/>
              <a:gd name="connsiteY87" fmla="*/ 138280 h 606510"/>
              <a:gd name="connsiteX88" fmla="*/ 386402 w 578354"/>
              <a:gd name="connsiteY88" fmla="*/ 112714 h 606510"/>
              <a:gd name="connsiteX89" fmla="*/ 413738 w 578354"/>
              <a:gd name="connsiteY89" fmla="*/ 98848 h 606510"/>
              <a:gd name="connsiteX90" fmla="*/ 413738 w 578354"/>
              <a:gd name="connsiteY90" fmla="*/ 84331 h 606510"/>
              <a:gd name="connsiteX91" fmla="*/ 426321 w 578354"/>
              <a:gd name="connsiteY91" fmla="*/ 71765 h 606510"/>
              <a:gd name="connsiteX92" fmla="*/ 215047 w 578354"/>
              <a:gd name="connsiteY92" fmla="*/ 46785 h 606510"/>
              <a:gd name="connsiteX93" fmla="*/ 247581 w 578354"/>
              <a:gd name="connsiteY93" fmla="*/ 46785 h 606510"/>
              <a:gd name="connsiteX94" fmla="*/ 347675 w 578354"/>
              <a:gd name="connsiteY94" fmla="*/ 146840 h 606510"/>
              <a:gd name="connsiteX95" fmla="*/ 347675 w 578354"/>
              <a:gd name="connsiteY95" fmla="*/ 178243 h 606510"/>
              <a:gd name="connsiteX96" fmla="*/ 353423 w 578354"/>
              <a:gd name="connsiteY96" fmla="*/ 196110 h 606510"/>
              <a:gd name="connsiteX97" fmla="*/ 353423 w 578354"/>
              <a:gd name="connsiteY97" fmla="*/ 218525 h 606510"/>
              <a:gd name="connsiteX98" fmla="*/ 342362 w 578354"/>
              <a:gd name="connsiteY98" fmla="*/ 242131 h 606510"/>
              <a:gd name="connsiteX99" fmla="*/ 335963 w 578354"/>
              <a:gd name="connsiteY99" fmla="*/ 259132 h 606510"/>
              <a:gd name="connsiteX100" fmla="*/ 314383 w 578354"/>
              <a:gd name="connsiteY100" fmla="*/ 299522 h 606510"/>
              <a:gd name="connsiteX101" fmla="*/ 299743 w 578354"/>
              <a:gd name="connsiteY101" fmla="*/ 318147 h 606510"/>
              <a:gd name="connsiteX102" fmla="*/ 310587 w 578354"/>
              <a:gd name="connsiteY102" fmla="*/ 331683 h 606510"/>
              <a:gd name="connsiteX103" fmla="*/ 382052 w 578354"/>
              <a:gd name="connsiteY103" fmla="*/ 353231 h 606510"/>
              <a:gd name="connsiteX104" fmla="*/ 462627 w 578354"/>
              <a:gd name="connsiteY104" fmla="*/ 587560 h 606510"/>
              <a:gd name="connsiteX105" fmla="*/ 443758 w 578354"/>
              <a:gd name="connsiteY105" fmla="*/ 606510 h 606510"/>
              <a:gd name="connsiteX106" fmla="*/ 18978 w 578354"/>
              <a:gd name="connsiteY106" fmla="*/ 606510 h 606510"/>
              <a:gd name="connsiteX107" fmla="*/ 0 w 578354"/>
              <a:gd name="connsiteY107" fmla="*/ 587560 h 606510"/>
              <a:gd name="connsiteX108" fmla="*/ 217 w 578354"/>
              <a:gd name="connsiteY108" fmla="*/ 584636 h 606510"/>
              <a:gd name="connsiteX109" fmla="*/ 80575 w 578354"/>
              <a:gd name="connsiteY109" fmla="*/ 353231 h 606510"/>
              <a:gd name="connsiteX110" fmla="*/ 152040 w 578354"/>
              <a:gd name="connsiteY110" fmla="*/ 331683 h 606510"/>
              <a:gd name="connsiteX111" fmla="*/ 162885 w 578354"/>
              <a:gd name="connsiteY111" fmla="*/ 318147 h 606510"/>
              <a:gd name="connsiteX112" fmla="*/ 148353 w 578354"/>
              <a:gd name="connsiteY112" fmla="*/ 299522 h 606510"/>
              <a:gd name="connsiteX113" fmla="*/ 126664 w 578354"/>
              <a:gd name="connsiteY113" fmla="*/ 259132 h 606510"/>
              <a:gd name="connsiteX114" fmla="*/ 120266 w 578354"/>
              <a:gd name="connsiteY114" fmla="*/ 242131 h 606510"/>
              <a:gd name="connsiteX115" fmla="*/ 109205 w 578354"/>
              <a:gd name="connsiteY115" fmla="*/ 218525 h 606510"/>
              <a:gd name="connsiteX116" fmla="*/ 109205 w 578354"/>
              <a:gd name="connsiteY116" fmla="*/ 196110 h 606510"/>
              <a:gd name="connsiteX117" fmla="*/ 114952 w 578354"/>
              <a:gd name="connsiteY117" fmla="*/ 178243 h 606510"/>
              <a:gd name="connsiteX118" fmla="*/ 114952 w 578354"/>
              <a:gd name="connsiteY118" fmla="*/ 146840 h 606510"/>
              <a:gd name="connsiteX119" fmla="*/ 215047 w 578354"/>
              <a:gd name="connsiteY119" fmla="*/ 46785 h 606510"/>
              <a:gd name="connsiteX120" fmla="*/ 414825 w 578354"/>
              <a:gd name="connsiteY120" fmla="*/ 0 h 606510"/>
              <a:gd name="connsiteX121" fmla="*/ 578354 w 578354"/>
              <a:gd name="connsiteY121" fmla="*/ 163305 h 606510"/>
              <a:gd name="connsiteX122" fmla="*/ 414825 w 578354"/>
              <a:gd name="connsiteY122" fmla="*/ 326718 h 606510"/>
              <a:gd name="connsiteX123" fmla="*/ 344664 w 578354"/>
              <a:gd name="connsiteY123" fmla="*/ 310907 h 606510"/>
              <a:gd name="connsiteX124" fmla="*/ 360063 w 578354"/>
              <a:gd name="connsiteY124" fmla="*/ 279719 h 606510"/>
              <a:gd name="connsiteX125" fmla="*/ 414825 w 578354"/>
              <a:gd name="connsiteY125" fmla="*/ 291956 h 606510"/>
              <a:gd name="connsiteX126" fmla="*/ 543545 w 578354"/>
              <a:gd name="connsiteY126" fmla="*/ 163305 h 606510"/>
              <a:gd name="connsiteX127" fmla="*/ 414825 w 578354"/>
              <a:gd name="connsiteY127" fmla="*/ 34762 h 606510"/>
              <a:gd name="connsiteX128" fmla="*/ 338808 w 578354"/>
              <a:gd name="connsiteY128" fmla="*/ 59561 h 606510"/>
              <a:gd name="connsiteX129" fmla="*/ 311264 w 578354"/>
              <a:gd name="connsiteY129" fmla="*/ 37036 h 606510"/>
              <a:gd name="connsiteX130" fmla="*/ 414825 w 578354"/>
              <a:gd name="connsiteY130" fmla="*/ 0 h 60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578354" h="606510">
                <a:moveTo>
                  <a:pt x="271981" y="340887"/>
                </a:moveTo>
                <a:cubicBezTo>
                  <a:pt x="266667" y="343702"/>
                  <a:pt x="261461" y="345543"/>
                  <a:pt x="256365" y="346409"/>
                </a:cubicBezTo>
                <a:cubicBezTo>
                  <a:pt x="253328" y="346951"/>
                  <a:pt x="251051" y="349658"/>
                  <a:pt x="251051" y="352798"/>
                </a:cubicBezTo>
                <a:lnTo>
                  <a:pt x="251051" y="368716"/>
                </a:lnTo>
                <a:cubicBezTo>
                  <a:pt x="250183" y="369149"/>
                  <a:pt x="249316" y="369691"/>
                  <a:pt x="248665" y="370449"/>
                </a:cubicBezTo>
                <a:cubicBezTo>
                  <a:pt x="247472" y="371748"/>
                  <a:pt x="246821" y="373589"/>
                  <a:pt x="247038" y="375322"/>
                </a:cubicBezTo>
                <a:lnTo>
                  <a:pt x="250509" y="409431"/>
                </a:lnTo>
                <a:cubicBezTo>
                  <a:pt x="250834" y="412030"/>
                  <a:pt x="252677" y="414196"/>
                  <a:pt x="255172" y="414954"/>
                </a:cubicBezTo>
                <a:cubicBezTo>
                  <a:pt x="255822" y="415062"/>
                  <a:pt x="256365" y="415170"/>
                  <a:pt x="256907" y="415170"/>
                </a:cubicBezTo>
                <a:cubicBezTo>
                  <a:pt x="258859" y="415170"/>
                  <a:pt x="260811" y="414304"/>
                  <a:pt x="262004" y="412572"/>
                </a:cubicBezTo>
                <a:lnTo>
                  <a:pt x="280114" y="388749"/>
                </a:lnTo>
                <a:cubicBezTo>
                  <a:pt x="280873" y="387666"/>
                  <a:pt x="281307" y="386258"/>
                  <a:pt x="281307" y="384851"/>
                </a:cubicBezTo>
                <a:lnTo>
                  <a:pt x="281307" y="346626"/>
                </a:lnTo>
                <a:cubicBezTo>
                  <a:pt x="281307" y="344352"/>
                  <a:pt x="280222" y="342295"/>
                  <a:pt x="278270" y="341104"/>
                </a:cubicBezTo>
                <a:cubicBezTo>
                  <a:pt x="276318" y="339912"/>
                  <a:pt x="273933" y="339912"/>
                  <a:pt x="271981" y="340887"/>
                </a:cubicBezTo>
                <a:close/>
                <a:moveTo>
                  <a:pt x="190755" y="340887"/>
                </a:moveTo>
                <a:cubicBezTo>
                  <a:pt x="188695" y="339912"/>
                  <a:pt x="186309" y="339912"/>
                  <a:pt x="184357" y="341104"/>
                </a:cubicBezTo>
                <a:cubicBezTo>
                  <a:pt x="182513" y="342295"/>
                  <a:pt x="181321" y="344352"/>
                  <a:pt x="181321" y="346626"/>
                </a:cubicBezTo>
                <a:lnTo>
                  <a:pt x="181212" y="384851"/>
                </a:lnTo>
                <a:cubicBezTo>
                  <a:pt x="181212" y="386258"/>
                  <a:pt x="181754" y="387666"/>
                  <a:pt x="182513" y="388749"/>
                </a:cubicBezTo>
                <a:lnTo>
                  <a:pt x="200624" y="412680"/>
                </a:lnTo>
                <a:cubicBezTo>
                  <a:pt x="201817" y="414304"/>
                  <a:pt x="203769" y="415170"/>
                  <a:pt x="205721" y="415170"/>
                </a:cubicBezTo>
                <a:cubicBezTo>
                  <a:pt x="206263" y="415170"/>
                  <a:pt x="206914" y="415062"/>
                  <a:pt x="207456" y="414954"/>
                </a:cubicBezTo>
                <a:cubicBezTo>
                  <a:pt x="209950" y="414196"/>
                  <a:pt x="211794" y="412030"/>
                  <a:pt x="212119" y="409431"/>
                </a:cubicBezTo>
                <a:lnTo>
                  <a:pt x="215589" y="375322"/>
                </a:lnTo>
                <a:cubicBezTo>
                  <a:pt x="215806" y="373589"/>
                  <a:pt x="215264" y="371748"/>
                  <a:pt x="213963" y="370449"/>
                </a:cubicBezTo>
                <a:cubicBezTo>
                  <a:pt x="213312" y="369691"/>
                  <a:pt x="212553" y="369149"/>
                  <a:pt x="211577" y="368716"/>
                </a:cubicBezTo>
                <a:lnTo>
                  <a:pt x="211577" y="352798"/>
                </a:lnTo>
                <a:cubicBezTo>
                  <a:pt x="211577" y="349658"/>
                  <a:pt x="209299" y="346951"/>
                  <a:pt x="206263" y="346409"/>
                </a:cubicBezTo>
                <a:cubicBezTo>
                  <a:pt x="201166" y="345543"/>
                  <a:pt x="195961" y="343702"/>
                  <a:pt x="190755" y="340887"/>
                </a:cubicBezTo>
                <a:close/>
                <a:moveTo>
                  <a:pt x="200624" y="168497"/>
                </a:moveTo>
                <a:cubicBezTo>
                  <a:pt x="182513" y="168497"/>
                  <a:pt x="164945" y="175861"/>
                  <a:pt x="156161" y="180300"/>
                </a:cubicBezTo>
                <a:cubicBezTo>
                  <a:pt x="153884" y="181383"/>
                  <a:pt x="152583" y="183657"/>
                  <a:pt x="152583" y="186039"/>
                </a:cubicBezTo>
                <a:lnTo>
                  <a:pt x="152583" y="197518"/>
                </a:lnTo>
                <a:lnTo>
                  <a:pt x="149980" y="197518"/>
                </a:lnTo>
                <a:cubicBezTo>
                  <a:pt x="146401" y="197518"/>
                  <a:pt x="143473" y="200333"/>
                  <a:pt x="143473" y="203906"/>
                </a:cubicBezTo>
                <a:lnTo>
                  <a:pt x="143473" y="214410"/>
                </a:lnTo>
                <a:cubicBezTo>
                  <a:pt x="143473" y="216576"/>
                  <a:pt x="144666" y="218633"/>
                  <a:pt x="146401" y="219824"/>
                </a:cubicBezTo>
                <a:lnTo>
                  <a:pt x="152691" y="223831"/>
                </a:lnTo>
                <a:lnTo>
                  <a:pt x="153016" y="226538"/>
                </a:lnTo>
                <a:cubicBezTo>
                  <a:pt x="155077" y="241806"/>
                  <a:pt x="163644" y="261731"/>
                  <a:pt x="176007" y="279598"/>
                </a:cubicBezTo>
                <a:cubicBezTo>
                  <a:pt x="191731" y="302338"/>
                  <a:pt x="206480" y="312516"/>
                  <a:pt x="214071" y="312516"/>
                </a:cubicBezTo>
                <a:lnTo>
                  <a:pt x="248557" y="312516"/>
                </a:lnTo>
                <a:cubicBezTo>
                  <a:pt x="256148" y="312516"/>
                  <a:pt x="270896" y="302338"/>
                  <a:pt x="286621" y="279598"/>
                </a:cubicBezTo>
                <a:cubicBezTo>
                  <a:pt x="298984" y="261731"/>
                  <a:pt x="307551" y="241806"/>
                  <a:pt x="309611" y="226538"/>
                </a:cubicBezTo>
                <a:lnTo>
                  <a:pt x="309936" y="223831"/>
                </a:lnTo>
                <a:lnTo>
                  <a:pt x="316226" y="219824"/>
                </a:lnTo>
                <a:cubicBezTo>
                  <a:pt x="318070" y="218633"/>
                  <a:pt x="319154" y="216576"/>
                  <a:pt x="319154" y="214410"/>
                </a:cubicBezTo>
                <a:lnTo>
                  <a:pt x="319154" y="203906"/>
                </a:lnTo>
                <a:cubicBezTo>
                  <a:pt x="319154" y="200333"/>
                  <a:pt x="316226" y="197518"/>
                  <a:pt x="312756" y="197518"/>
                </a:cubicBezTo>
                <a:lnTo>
                  <a:pt x="309177" y="197518"/>
                </a:lnTo>
                <a:cubicBezTo>
                  <a:pt x="308744" y="196651"/>
                  <a:pt x="307984" y="195893"/>
                  <a:pt x="307117" y="195352"/>
                </a:cubicBezTo>
                <a:cubicBezTo>
                  <a:pt x="305382" y="194161"/>
                  <a:pt x="302996" y="193944"/>
                  <a:pt x="301044" y="194919"/>
                </a:cubicBezTo>
                <a:cubicBezTo>
                  <a:pt x="292477" y="198709"/>
                  <a:pt x="283910" y="200658"/>
                  <a:pt x="275668" y="200658"/>
                </a:cubicBezTo>
                <a:cubicBezTo>
                  <a:pt x="261028" y="200658"/>
                  <a:pt x="247797" y="194702"/>
                  <a:pt x="236302" y="182791"/>
                </a:cubicBezTo>
                <a:cubicBezTo>
                  <a:pt x="227193" y="173370"/>
                  <a:pt x="215155" y="168497"/>
                  <a:pt x="200624" y="168497"/>
                </a:cubicBezTo>
                <a:close/>
                <a:moveTo>
                  <a:pt x="426321" y="71765"/>
                </a:moveTo>
                <a:cubicBezTo>
                  <a:pt x="433372" y="71765"/>
                  <a:pt x="439012" y="77398"/>
                  <a:pt x="439012" y="84331"/>
                </a:cubicBezTo>
                <a:lnTo>
                  <a:pt x="439012" y="99173"/>
                </a:lnTo>
                <a:cubicBezTo>
                  <a:pt x="449860" y="101231"/>
                  <a:pt x="458321" y="105564"/>
                  <a:pt x="464721" y="112498"/>
                </a:cubicBezTo>
                <a:cubicBezTo>
                  <a:pt x="467650" y="115639"/>
                  <a:pt x="468843" y="120081"/>
                  <a:pt x="467758" y="124306"/>
                </a:cubicBezTo>
                <a:cubicBezTo>
                  <a:pt x="466565" y="128531"/>
                  <a:pt x="463419" y="131780"/>
                  <a:pt x="459297" y="133080"/>
                </a:cubicBezTo>
                <a:lnTo>
                  <a:pt x="452789" y="135139"/>
                </a:lnTo>
                <a:cubicBezTo>
                  <a:pt x="448016" y="136655"/>
                  <a:pt x="442809" y="135247"/>
                  <a:pt x="439555" y="131455"/>
                </a:cubicBezTo>
                <a:cubicBezTo>
                  <a:pt x="436192" y="127772"/>
                  <a:pt x="431311" y="125931"/>
                  <a:pt x="425019" y="125931"/>
                </a:cubicBezTo>
                <a:cubicBezTo>
                  <a:pt x="419921" y="125931"/>
                  <a:pt x="413738" y="127122"/>
                  <a:pt x="413738" y="132972"/>
                </a:cubicBezTo>
                <a:cubicBezTo>
                  <a:pt x="413738" y="134597"/>
                  <a:pt x="414388" y="136005"/>
                  <a:pt x="415582" y="137197"/>
                </a:cubicBezTo>
                <a:cubicBezTo>
                  <a:pt x="416883" y="138389"/>
                  <a:pt x="420463" y="139689"/>
                  <a:pt x="426429" y="140989"/>
                </a:cubicBezTo>
                <a:cubicBezTo>
                  <a:pt x="440097" y="144022"/>
                  <a:pt x="450077" y="146730"/>
                  <a:pt x="456043" y="149113"/>
                </a:cubicBezTo>
                <a:cubicBezTo>
                  <a:pt x="462118" y="151497"/>
                  <a:pt x="467216" y="155613"/>
                  <a:pt x="471230" y="161355"/>
                </a:cubicBezTo>
                <a:cubicBezTo>
                  <a:pt x="475243" y="167096"/>
                  <a:pt x="477304" y="174030"/>
                  <a:pt x="477304" y="181829"/>
                </a:cubicBezTo>
                <a:cubicBezTo>
                  <a:pt x="477304" y="192771"/>
                  <a:pt x="473291" y="202087"/>
                  <a:pt x="465480" y="209454"/>
                </a:cubicBezTo>
                <a:cubicBezTo>
                  <a:pt x="458863" y="215737"/>
                  <a:pt x="449968" y="219962"/>
                  <a:pt x="439012" y="222020"/>
                </a:cubicBezTo>
                <a:lnTo>
                  <a:pt x="439012" y="242278"/>
                </a:lnTo>
                <a:cubicBezTo>
                  <a:pt x="439012" y="249320"/>
                  <a:pt x="433372" y="254953"/>
                  <a:pt x="426321" y="254953"/>
                </a:cubicBezTo>
                <a:cubicBezTo>
                  <a:pt x="419378" y="254953"/>
                  <a:pt x="413738" y="249320"/>
                  <a:pt x="413738" y="242278"/>
                </a:cubicBezTo>
                <a:lnTo>
                  <a:pt x="413738" y="222670"/>
                </a:lnTo>
                <a:cubicBezTo>
                  <a:pt x="397683" y="220504"/>
                  <a:pt x="385751" y="213571"/>
                  <a:pt x="378158" y="202087"/>
                </a:cubicBezTo>
                <a:cubicBezTo>
                  <a:pt x="375771" y="198512"/>
                  <a:pt x="375337" y="194071"/>
                  <a:pt x="377073" y="190171"/>
                </a:cubicBezTo>
                <a:cubicBezTo>
                  <a:pt x="378700" y="186271"/>
                  <a:pt x="382171" y="183454"/>
                  <a:pt x="386402" y="182696"/>
                </a:cubicBezTo>
                <a:lnTo>
                  <a:pt x="395948" y="180963"/>
                </a:lnTo>
                <a:cubicBezTo>
                  <a:pt x="400721" y="180096"/>
                  <a:pt x="405710" y="182046"/>
                  <a:pt x="408531" y="186163"/>
                </a:cubicBezTo>
                <a:cubicBezTo>
                  <a:pt x="412110" y="191254"/>
                  <a:pt x="418185" y="193963"/>
                  <a:pt x="426646" y="193963"/>
                </a:cubicBezTo>
                <a:cubicBezTo>
                  <a:pt x="439555" y="193963"/>
                  <a:pt x="439555" y="188763"/>
                  <a:pt x="439555" y="187138"/>
                </a:cubicBezTo>
                <a:cubicBezTo>
                  <a:pt x="439555" y="184646"/>
                  <a:pt x="438578" y="182913"/>
                  <a:pt x="436626" y="181504"/>
                </a:cubicBezTo>
                <a:cubicBezTo>
                  <a:pt x="434673" y="180096"/>
                  <a:pt x="430985" y="178905"/>
                  <a:pt x="425778" y="177821"/>
                </a:cubicBezTo>
                <a:cubicBezTo>
                  <a:pt x="404734" y="173488"/>
                  <a:pt x="391283" y="167963"/>
                  <a:pt x="385534" y="161355"/>
                </a:cubicBezTo>
                <a:cubicBezTo>
                  <a:pt x="379785" y="154530"/>
                  <a:pt x="376964" y="147055"/>
                  <a:pt x="376964" y="138280"/>
                </a:cubicBezTo>
                <a:cubicBezTo>
                  <a:pt x="376964" y="128639"/>
                  <a:pt x="380110" y="120081"/>
                  <a:pt x="386402" y="112714"/>
                </a:cubicBezTo>
                <a:cubicBezTo>
                  <a:pt x="392368" y="105564"/>
                  <a:pt x="401588" y="100906"/>
                  <a:pt x="413738" y="98848"/>
                </a:cubicBezTo>
                <a:lnTo>
                  <a:pt x="413738" y="84331"/>
                </a:lnTo>
                <a:cubicBezTo>
                  <a:pt x="413738" y="77398"/>
                  <a:pt x="419378" y="71765"/>
                  <a:pt x="426321" y="71765"/>
                </a:cubicBezTo>
                <a:close/>
                <a:moveTo>
                  <a:pt x="215047" y="46785"/>
                </a:moveTo>
                <a:lnTo>
                  <a:pt x="247581" y="46785"/>
                </a:lnTo>
                <a:cubicBezTo>
                  <a:pt x="302779" y="46785"/>
                  <a:pt x="347675" y="91723"/>
                  <a:pt x="347675" y="146840"/>
                </a:cubicBezTo>
                <a:lnTo>
                  <a:pt x="347675" y="178243"/>
                </a:lnTo>
                <a:cubicBezTo>
                  <a:pt x="351471" y="183441"/>
                  <a:pt x="353423" y="189721"/>
                  <a:pt x="353423" y="196110"/>
                </a:cubicBezTo>
                <a:lnTo>
                  <a:pt x="353423" y="218525"/>
                </a:lnTo>
                <a:cubicBezTo>
                  <a:pt x="353423" y="227621"/>
                  <a:pt x="349302" y="236284"/>
                  <a:pt x="342362" y="242131"/>
                </a:cubicBezTo>
                <a:cubicBezTo>
                  <a:pt x="340626" y="247654"/>
                  <a:pt x="338458" y="253393"/>
                  <a:pt x="335963" y="259132"/>
                </a:cubicBezTo>
                <a:cubicBezTo>
                  <a:pt x="330758" y="272559"/>
                  <a:pt x="323275" y="286528"/>
                  <a:pt x="314383" y="299522"/>
                </a:cubicBezTo>
                <a:cubicBezTo>
                  <a:pt x="310587" y="305045"/>
                  <a:pt x="305599" y="311650"/>
                  <a:pt x="299743" y="318147"/>
                </a:cubicBezTo>
                <a:cubicBezTo>
                  <a:pt x="305056" y="321937"/>
                  <a:pt x="308852" y="326485"/>
                  <a:pt x="310587" y="331683"/>
                </a:cubicBezTo>
                <a:lnTo>
                  <a:pt x="382052" y="353231"/>
                </a:lnTo>
                <a:cubicBezTo>
                  <a:pt x="432263" y="367742"/>
                  <a:pt x="462627" y="578464"/>
                  <a:pt x="462627" y="587560"/>
                </a:cubicBezTo>
                <a:cubicBezTo>
                  <a:pt x="462627" y="598064"/>
                  <a:pt x="454169" y="606510"/>
                  <a:pt x="443758" y="606510"/>
                </a:cubicBezTo>
                <a:lnTo>
                  <a:pt x="18978" y="606510"/>
                </a:lnTo>
                <a:cubicBezTo>
                  <a:pt x="8459" y="606510"/>
                  <a:pt x="0" y="598064"/>
                  <a:pt x="0" y="587560"/>
                </a:cubicBezTo>
                <a:cubicBezTo>
                  <a:pt x="0" y="586586"/>
                  <a:pt x="109" y="585611"/>
                  <a:pt x="217" y="584636"/>
                </a:cubicBezTo>
                <a:cubicBezTo>
                  <a:pt x="217" y="584636"/>
                  <a:pt x="30365" y="367742"/>
                  <a:pt x="80575" y="353231"/>
                </a:cubicBezTo>
                <a:lnTo>
                  <a:pt x="152040" y="331683"/>
                </a:lnTo>
                <a:cubicBezTo>
                  <a:pt x="153775" y="326485"/>
                  <a:pt x="157571" y="321937"/>
                  <a:pt x="162885" y="318147"/>
                </a:cubicBezTo>
                <a:cubicBezTo>
                  <a:pt x="157029" y="311650"/>
                  <a:pt x="152040" y="305045"/>
                  <a:pt x="148353" y="299522"/>
                </a:cubicBezTo>
                <a:cubicBezTo>
                  <a:pt x="139352" y="286528"/>
                  <a:pt x="131870" y="272559"/>
                  <a:pt x="126664" y="259132"/>
                </a:cubicBezTo>
                <a:cubicBezTo>
                  <a:pt x="124170" y="253393"/>
                  <a:pt x="122001" y="247654"/>
                  <a:pt x="120266" y="242131"/>
                </a:cubicBezTo>
                <a:cubicBezTo>
                  <a:pt x="113325" y="236284"/>
                  <a:pt x="109205" y="227621"/>
                  <a:pt x="109205" y="218525"/>
                </a:cubicBezTo>
                <a:lnTo>
                  <a:pt x="109205" y="196110"/>
                </a:lnTo>
                <a:cubicBezTo>
                  <a:pt x="109205" y="189721"/>
                  <a:pt x="111265" y="183441"/>
                  <a:pt x="114952" y="178243"/>
                </a:cubicBezTo>
                <a:lnTo>
                  <a:pt x="114952" y="146840"/>
                </a:lnTo>
                <a:cubicBezTo>
                  <a:pt x="114952" y="91723"/>
                  <a:pt x="159848" y="46785"/>
                  <a:pt x="215047" y="46785"/>
                </a:cubicBezTo>
                <a:close/>
                <a:moveTo>
                  <a:pt x="414825" y="0"/>
                </a:moveTo>
                <a:cubicBezTo>
                  <a:pt x="504940" y="0"/>
                  <a:pt x="578354" y="73314"/>
                  <a:pt x="578354" y="163305"/>
                </a:cubicBezTo>
                <a:cubicBezTo>
                  <a:pt x="578354" y="253404"/>
                  <a:pt x="504940" y="326718"/>
                  <a:pt x="414825" y="326718"/>
                </a:cubicBezTo>
                <a:cubicBezTo>
                  <a:pt x="389667" y="326718"/>
                  <a:pt x="365918" y="320979"/>
                  <a:pt x="344664" y="310907"/>
                </a:cubicBezTo>
                <a:cubicBezTo>
                  <a:pt x="350737" y="300620"/>
                  <a:pt x="355942" y="290115"/>
                  <a:pt x="360063" y="279719"/>
                </a:cubicBezTo>
                <a:cubicBezTo>
                  <a:pt x="376654" y="287516"/>
                  <a:pt x="395198" y="291956"/>
                  <a:pt x="414825" y="291956"/>
                </a:cubicBezTo>
                <a:cubicBezTo>
                  <a:pt x="485854" y="291956"/>
                  <a:pt x="543545" y="234236"/>
                  <a:pt x="543545" y="163305"/>
                </a:cubicBezTo>
                <a:cubicBezTo>
                  <a:pt x="543545" y="92482"/>
                  <a:pt x="485854" y="34762"/>
                  <a:pt x="414825" y="34762"/>
                </a:cubicBezTo>
                <a:cubicBezTo>
                  <a:pt x="386414" y="34762"/>
                  <a:pt x="360171" y="43967"/>
                  <a:pt x="338808" y="59561"/>
                </a:cubicBezTo>
                <a:cubicBezTo>
                  <a:pt x="330675" y="50897"/>
                  <a:pt x="321458" y="43317"/>
                  <a:pt x="311264" y="37036"/>
                </a:cubicBezTo>
                <a:cubicBezTo>
                  <a:pt x="339459" y="13861"/>
                  <a:pt x="375570" y="0"/>
                  <a:pt x="414825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 bwMode="auto">
          <a:xfrm>
            <a:off x="4264608" y="4878863"/>
            <a:ext cx="567412" cy="392443"/>
          </a:xfrm>
          <a:custGeom>
            <a:avLst/>
            <a:gdLst>
              <a:gd name="connsiteX0" fmla="*/ 91871 w 609146"/>
              <a:gd name="connsiteY0" fmla="*/ 130719 h 421308"/>
              <a:gd name="connsiteX1" fmla="*/ 354823 w 609146"/>
              <a:gd name="connsiteY1" fmla="*/ 130719 h 421308"/>
              <a:gd name="connsiteX2" fmla="*/ 337077 w 609146"/>
              <a:gd name="connsiteY2" fmla="*/ 167773 h 421308"/>
              <a:gd name="connsiteX3" fmla="*/ 105785 w 609146"/>
              <a:gd name="connsiteY3" fmla="*/ 167773 h 421308"/>
              <a:gd name="connsiteX4" fmla="*/ 43274 w 609146"/>
              <a:gd name="connsiteY4" fmla="*/ 384254 h 421308"/>
              <a:gd name="connsiteX5" fmla="*/ 545079 w 609146"/>
              <a:gd name="connsiteY5" fmla="*/ 384254 h 421308"/>
              <a:gd name="connsiteX6" fmla="*/ 501725 w 609146"/>
              <a:gd name="connsiteY6" fmla="*/ 234429 h 421308"/>
              <a:gd name="connsiteX7" fmla="*/ 526326 w 609146"/>
              <a:gd name="connsiteY7" fmla="*/ 214593 h 421308"/>
              <a:gd name="connsiteX8" fmla="*/ 532476 w 609146"/>
              <a:gd name="connsiteY8" fmla="*/ 207142 h 421308"/>
              <a:gd name="connsiteX9" fmla="*/ 587224 w 609146"/>
              <a:gd name="connsiteY9" fmla="*/ 396538 h 421308"/>
              <a:gd name="connsiteX10" fmla="*/ 588333 w 609146"/>
              <a:gd name="connsiteY10" fmla="*/ 402781 h 421308"/>
              <a:gd name="connsiteX11" fmla="*/ 569781 w 609146"/>
              <a:gd name="connsiteY11" fmla="*/ 421308 h 421308"/>
              <a:gd name="connsiteX12" fmla="*/ 18571 w 609146"/>
              <a:gd name="connsiteY12" fmla="*/ 421308 h 421308"/>
              <a:gd name="connsiteX13" fmla="*/ 3750 w 609146"/>
              <a:gd name="connsiteY13" fmla="*/ 413857 h 421308"/>
              <a:gd name="connsiteX14" fmla="*/ 725 w 609146"/>
              <a:gd name="connsiteY14" fmla="*/ 397646 h 421308"/>
              <a:gd name="connsiteX15" fmla="*/ 74025 w 609146"/>
              <a:gd name="connsiteY15" fmla="*/ 144111 h 421308"/>
              <a:gd name="connsiteX16" fmla="*/ 91871 w 609146"/>
              <a:gd name="connsiteY16" fmla="*/ 130719 h 421308"/>
              <a:gd name="connsiteX17" fmla="*/ 599624 w 609146"/>
              <a:gd name="connsiteY17" fmla="*/ 52 h 421308"/>
              <a:gd name="connsiteX18" fmla="*/ 606882 w 609146"/>
              <a:gd name="connsiteY18" fmla="*/ 2771 h 421308"/>
              <a:gd name="connsiteX19" fmla="*/ 608999 w 609146"/>
              <a:gd name="connsiteY19" fmla="*/ 10121 h 421308"/>
              <a:gd name="connsiteX20" fmla="*/ 543273 w 609146"/>
              <a:gd name="connsiteY20" fmla="*/ 158839 h 421308"/>
              <a:gd name="connsiteX21" fmla="*/ 539543 w 609146"/>
              <a:gd name="connsiteY21" fmla="*/ 161557 h 421308"/>
              <a:gd name="connsiteX22" fmla="*/ 486215 w 609146"/>
              <a:gd name="connsiteY22" fmla="*/ 176157 h 421308"/>
              <a:gd name="connsiteX23" fmla="*/ 505772 w 609146"/>
              <a:gd name="connsiteY23" fmla="*/ 179983 h 421308"/>
              <a:gd name="connsiteX24" fmla="*/ 512627 w 609146"/>
              <a:gd name="connsiteY24" fmla="*/ 186025 h 421308"/>
              <a:gd name="connsiteX25" fmla="*/ 510208 w 609146"/>
              <a:gd name="connsiteY25" fmla="*/ 194684 h 421308"/>
              <a:gd name="connsiteX26" fmla="*/ 356778 w 609146"/>
              <a:gd name="connsiteY26" fmla="*/ 259729 h 421308"/>
              <a:gd name="connsiteX27" fmla="*/ 328754 w 609146"/>
              <a:gd name="connsiteY27" fmla="*/ 294668 h 421308"/>
              <a:gd name="connsiteX28" fmla="*/ 321193 w 609146"/>
              <a:gd name="connsiteY28" fmla="*/ 298595 h 421308"/>
              <a:gd name="connsiteX29" fmla="*/ 315951 w 609146"/>
              <a:gd name="connsiteY29" fmla="*/ 296984 h 421308"/>
              <a:gd name="connsiteX30" fmla="*/ 312221 w 609146"/>
              <a:gd name="connsiteY30" fmla="*/ 291144 h 421308"/>
              <a:gd name="connsiteX31" fmla="*/ 313633 w 609146"/>
              <a:gd name="connsiteY31" fmla="*/ 284297 h 421308"/>
              <a:gd name="connsiteX32" fmla="*/ 344581 w 609146"/>
              <a:gd name="connsiteY32" fmla="*/ 245935 h 421308"/>
              <a:gd name="connsiteX33" fmla="*/ 357786 w 609146"/>
              <a:gd name="connsiteY33" fmla="*/ 194382 h 421308"/>
              <a:gd name="connsiteX34" fmla="*/ 423412 w 609146"/>
              <a:gd name="connsiteY34" fmla="*/ 86947 h 421308"/>
              <a:gd name="connsiteX35" fmla="*/ 432586 w 609146"/>
              <a:gd name="connsiteY35" fmla="*/ 85034 h 421308"/>
              <a:gd name="connsiteX36" fmla="*/ 438231 w 609146"/>
              <a:gd name="connsiteY36" fmla="*/ 92485 h 421308"/>
              <a:gd name="connsiteX37" fmla="*/ 445086 w 609146"/>
              <a:gd name="connsiteY37" fmla="*/ 110810 h 421308"/>
              <a:gd name="connsiteX38" fmla="*/ 451638 w 609146"/>
              <a:gd name="connsiteY38" fmla="*/ 61875 h 421308"/>
              <a:gd name="connsiteX39" fmla="*/ 454259 w 609146"/>
              <a:gd name="connsiteY39" fmla="*/ 58150 h 421308"/>
              <a:gd name="connsiteX40" fmla="*/ 504058 w 609146"/>
              <a:gd name="connsiteY40" fmla="*/ 26735 h 421308"/>
              <a:gd name="connsiteX41" fmla="*/ 511417 w 609146"/>
              <a:gd name="connsiteY41" fmla="*/ 26835 h 421308"/>
              <a:gd name="connsiteX42" fmla="*/ 515954 w 609146"/>
              <a:gd name="connsiteY42" fmla="*/ 32675 h 421308"/>
              <a:gd name="connsiteX43" fmla="*/ 518776 w 609146"/>
              <a:gd name="connsiteY43" fmla="*/ 49188 h 421308"/>
              <a:gd name="connsiteX44" fmla="*/ 519885 w 609146"/>
              <a:gd name="connsiteY44" fmla="*/ 24822 h 421308"/>
              <a:gd name="connsiteX45" fmla="*/ 525329 w 609146"/>
              <a:gd name="connsiteY45" fmla="*/ 17673 h 421308"/>
              <a:gd name="connsiteX46" fmla="*/ 599624 w 609146"/>
              <a:gd name="connsiteY46" fmla="*/ 52 h 421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609146" h="421308">
                <a:moveTo>
                  <a:pt x="91871" y="130719"/>
                </a:moveTo>
                <a:lnTo>
                  <a:pt x="354823" y="130719"/>
                </a:lnTo>
                <a:cubicBezTo>
                  <a:pt x="347362" y="143909"/>
                  <a:pt x="341615" y="156495"/>
                  <a:pt x="337077" y="167773"/>
                </a:cubicBezTo>
                <a:lnTo>
                  <a:pt x="105785" y="167773"/>
                </a:lnTo>
                <a:lnTo>
                  <a:pt x="43274" y="384254"/>
                </a:lnTo>
                <a:lnTo>
                  <a:pt x="545079" y="384254"/>
                </a:lnTo>
                <a:lnTo>
                  <a:pt x="501725" y="234429"/>
                </a:lnTo>
                <a:cubicBezTo>
                  <a:pt x="510194" y="228287"/>
                  <a:pt x="518462" y="221742"/>
                  <a:pt x="526326" y="214593"/>
                </a:cubicBezTo>
                <a:cubicBezTo>
                  <a:pt x="528746" y="212378"/>
                  <a:pt x="530762" y="209861"/>
                  <a:pt x="532476" y="207142"/>
                </a:cubicBezTo>
                <a:lnTo>
                  <a:pt x="587224" y="396538"/>
                </a:lnTo>
                <a:cubicBezTo>
                  <a:pt x="587930" y="398552"/>
                  <a:pt x="588333" y="400566"/>
                  <a:pt x="588333" y="402781"/>
                </a:cubicBezTo>
                <a:cubicBezTo>
                  <a:pt x="588333" y="412951"/>
                  <a:pt x="579965" y="421308"/>
                  <a:pt x="569781" y="421308"/>
                </a:cubicBezTo>
                <a:lnTo>
                  <a:pt x="18571" y="421308"/>
                </a:lnTo>
                <a:cubicBezTo>
                  <a:pt x="12724" y="421308"/>
                  <a:pt x="7279" y="418489"/>
                  <a:pt x="3750" y="413857"/>
                </a:cubicBezTo>
                <a:cubicBezTo>
                  <a:pt x="221" y="409225"/>
                  <a:pt x="-888" y="403184"/>
                  <a:pt x="725" y="397646"/>
                </a:cubicBezTo>
                <a:lnTo>
                  <a:pt x="74025" y="144111"/>
                </a:lnTo>
                <a:cubicBezTo>
                  <a:pt x="76344" y="136257"/>
                  <a:pt x="83604" y="130719"/>
                  <a:pt x="91871" y="130719"/>
                </a:cubicBezTo>
                <a:close/>
                <a:moveTo>
                  <a:pt x="599624" y="52"/>
                </a:moveTo>
                <a:cubicBezTo>
                  <a:pt x="602346" y="-250"/>
                  <a:pt x="604967" y="757"/>
                  <a:pt x="606882" y="2771"/>
                </a:cubicBezTo>
                <a:cubicBezTo>
                  <a:pt x="608697" y="4684"/>
                  <a:pt x="609503" y="7402"/>
                  <a:pt x="608999" y="10121"/>
                </a:cubicBezTo>
                <a:cubicBezTo>
                  <a:pt x="605269" y="29856"/>
                  <a:pt x="589543" y="98929"/>
                  <a:pt x="543273" y="158839"/>
                </a:cubicBezTo>
                <a:cubicBezTo>
                  <a:pt x="542365" y="160047"/>
                  <a:pt x="541055" y="161054"/>
                  <a:pt x="539543" y="161557"/>
                </a:cubicBezTo>
                <a:cubicBezTo>
                  <a:pt x="518877" y="169210"/>
                  <a:pt x="500933" y="174043"/>
                  <a:pt x="486215" y="176157"/>
                </a:cubicBezTo>
                <a:cubicBezTo>
                  <a:pt x="492264" y="177667"/>
                  <a:pt x="498917" y="178976"/>
                  <a:pt x="505772" y="179983"/>
                </a:cubicBezTo>
                <a:cubicBezTo>
                  <a:pt x="508998" y="180487"/>
                  <a:pt x="511720" y="182803"/>
                  <a:pt x="512627" y="186025"/>
                </a:cubicBezTo>
                <a:cubicBezTo>
                  <a:pt x="513534" y="189146"/>
                  <a:pt x="512627" y="192569"/>
                  <a:pt x="510208" y="194684"/>
                </a:cubicBezTo>
                <a:cubicBezTo>
                  <a:pt x="468372" y="232543"/>
                  <a:pt x="416759" y="254393"/>
                  <a:pt x="356778" y="259729"/>
                </a:cubicBezTo>
                <a:cubicBezTo>
                  <a:pt x="338734" y="280068"/>
                  <a:pt x="328855" y="294467"/>
                  <a:pt x="328754" y="294668"/>
                </a:cubicBezTo>
                <a:cubicBezTo>
                  <a:pt x="327040" y="297085"/>
                  <a:pt x="324217" y="298595"/>
                  <a:pt x="321193" y="298595"/>
                </a:cubicBezTo>
                <a:cubicBezTo>
                  <a:pt x="319278" y="298595"/>
                  <a:pt x="317564" y="297991"/>
                  <a:pt x="315951" y="296984"/>
                </a:cubicBezTo>
                <a:cubicBezTo>
                  <a:pt x="314036" y="295574"/>
                  <a:pt x="312625" y="293561"/>
                  <a:pt x="312221" y="291144"/>
                </a:cubicBezTo>
                <a:cubicBezTo>
                  <a:pt x="311717" y="288727"/>
                  <a:pt x="312322" y="286311"/>
                  <a:pt x="313633" y="284297"/>
                </a:cubicBezTo>
                <a:cubicBezTo>
                  <a:pt x="314137" y="283693"/>
                  <a:pt x="324923" y="267986"/>
                  <a:pt x="344581" y="245935"/>
                </a:cubicBezTo>
                <a:cubicBezTo>
                  <a:pt x="346294" y="234557"/>
                  <a:pt x="350024" y="216332"/>
                  <a:pt x="357786" y="194382"/>
                </a:cubicBezTo>
                <a:cubicBezTo>
                  <a:pt x="368170" y="164679"/>
                  <a:pt x="385408" y="125007"/>
                  <a:pt x="423412" y="86947"/>
                </a:cubicBezTo>
                <a:cubicBezTo>
                  <a:pt x="425832" y="84530"/>
                  <a:pt x="429461" y="83825"/>
                  <a:pt x="432586" y="85034"/>
                </a:cubicBezTo>
                <a:cubicBezTo>
                  <a:pt x="435711" y="86343"/>
                  <a:pt x="436517" y="88658"/>
                  <a:pt x="438231" y="92485"/>
                </a:cubicBezTo>
                <a:cubicBezTo>
                  <a:pt x="440550" y="97418"/>
                  <a:pt x="445086" y="110810"/>
                  <a:pt x="445086" y="110810"/>
                </a:cubicBezTo>
                <a:cubicBezTo>
                  <a:pt x="443876" y="98325"/>
                  <a:pt x="443775" y="83725"/>
                  <a:pt x="451638" y="61875"/>
                </a:cubicBezTo>
                <a:cubicBezTo>
                  <a:pt x="452142" y="60465"/>
                  <a:pt x="453050" y="59157"/>
                  <a:pt x="454259" y="58150"/>
                </a:cubicBezTo>
                <a:cubicBezTo>
                  <a:pt x="467163" y="47879"/>
                  <a:pt x="482082" y="36904"/>
                  <a:pt x="504058" y="26735"/>
                </a:cubicBezTo>
                <a:cubicBezTo>
                  <a:pt x="506377" y="25627"/>
                  <a:pt x="509099" y="25728"/>
                  <a:pt x="511417" y="26835"/>
                </a:cubicBezTo>
                <a:cubicBezTo>
                  <a:pt x="513736" y="28044"/>
                  <a:pt x="515349" y="30158"/>
                  <a:pt x="515954" y="32675"/>
                </a:cubicBezTo>
                <a:cubicBezTo>
                  <a:pt x="516559" y="35495"/>
                  <a:pt x="518776" y="49188"/>
                  <a:pt x="518776" y="49188"/>
                </a:cubicBezTo>
                <a:cubicBezTo>
                  <a:pt x="518776" y="49188"/>
                  <a:pt x="519381" y="29957"/>
                  <a:pt x="519885" y="24822"/>
                </a:cubicBezTo>
                <a:cubicBezTo>
                  <a:pt x="520188" y="21600"/>
                  <a:pt x="522305" y="18881"/>
                  <a:pt x="525329" y="17673"/>
                </a:cubicBezTo>
                <a:cubicBezTo>
                  <a:pt x="548313" y="8913"/>
                  <a:pt x="573313" y="2972"/>
                  <a:pt x="599624" y="5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任意多边形: 形状 21"/>
          <p:cNvSpPr/>
          <p:nvPr/>
        </p:nvSpPr>
        <p:spPr bwMode="auto">
          <a:xfrm>
            <a:off x="4287035" y="1834668"/>
            <a:ext cx="567412" cy="458298"/>
          </a:xfrm>
          <a:custGeom>
            <a:avLst/>
            <a:gdLst>
              <a:gd name="connsiteX0" fmla="*/ 199013 w 609377"/>
              <a:gd name="connsiteY0" fmla="*/ 435742 h 492194"/>
              <a:gd name="connsiteX1" fmla="*/ 414600 w 609377"/>
              <a:gd name="connsiteY1" fmla="*/ 435742 h 492194"/>
              <a:gd name="connsiteX2" fmla="*/ 518491 w 609377"/>
              <a:gd name="connsiteY2" fmla="*/ 435742 h 492194"/>
              <a:gd name="connsiteX3" fmla="*/ 572285 w 609377"/>
              <a:gd name="connsiteY3" fmla="*/ 435742 h 492194"/>
              <a:gd name="connsiteX4" fmla="*/ 572285 w 609377"/>
              <a:gd name="connsiteY4" fmla="*/ 478222 h 492194"/>
              <a:gd name="connsiteX5" fmla="*/ 518491 w 609377"/>
              <a:gd name="connsiteY5" fmla="*/ 478222 h 492194"/>
              <a:gd name="connsiteX6" fmla="*/ 414600 w 609377"/>
              <a:gd name="connsiteY6" fmla="*/ 478222 h 492194"/>
              <a:gd name="connsiteX7" fmla="*/ 199013 w 609377"/>
              <a:gd name="connsiteY7" fmla="*/ 478222 h 492194"/>
              <a:gd name="connsiteX8" fmla="*/ 182764 w 609377"/>
              <a:gd name="connsiteY8" fmla="*/ 461956 h 492194"/>
              <a:gd name="connsiteX9" fmla="*/ 182764 w 609377"/>
              <a:gd name="connsiteY9" fmla="*/ 452008 h 492194"/>
              <a:gd name="connsiteX10" fmla="*/ 199013 w 609377"/>
              <a:gd name="connsiteY10" fmla="*/ 435742 h 492194"/>
              <a:gd name="connsiteX11" fmla="*/ 598532 w 609377"/>
              <a:gd name="connsiteY11" fmla="*/ 183306 h 492194"/>
              <a:gd name="connsiteX12" fmla="*/ 608505 w 609377"/>
              <a:gd name="connsiteY12" fmla="*/ 203745 h 492194"/>
              <a:gd name="connsiteX13" fmla="*/ 536759 w 609377"/>
              <a:gd name="connsiteY13" fmla="*/ 412878 h 492194"/>
              <a:gd name="connsiteX14" fmla="*/ 534354 w 609377"/>
              <a:gd name="connsiteY14" fmla="*/ 417329 h 492194"/>
              <a:gd name="connsiteX15" fmla="*/ 521155 w 609377"/>
              <a:gd name="connsiteY15" fmla="*/ 424240 h 492194"/>
              <a:gd name="connsiteX16" fmla="*/ 265794 w 609377"/>
              <a:gd name="connsiteY16" fmla="*/ 424240 h 492194"/>
              <a:gd name="connsiteX17" fmla="*/ 249661 w 609377"/>
              <a:gd name="connsiteY17" fmla="*/ 408193 h 492194"/>
              <a:gd name="connsiteX18" fmla="*/ 265794 w 609377"/>
              <a:gd name="connsiteY18" fmla="*/ 392147 h 492194"/>
              <a:gd name="connsiteX19" fmla="*/ 509892 w 609377"/>
              <a:gd name="connsiteY19" fmla="*/ 392147 h 492194"/>
              <a:gd name="connsiteX20" fmla="*/ 578058 w 609377"/>
              <a:gd name="connsiteY20" fmla="*/ 193320 h 492194"/>
              <a:gd name="connsiteX21" fmla="*/ 598532 w 609377"/>
              <a:gd name="connsiteY21" fmla="*/ 183306 h 492194"/>
              <a:gd name="connsiteX22" fmla="*/ 81768 w 609377"/>
              <a:gd name="connsiteY22" fmla="*/ 179942 h 492194"/>
              <a:gd name="connsiteX23" fmla="*/ 81885 w 609377"/>
              <a:gd name="connsiteY23" fmla="*/ 180118 h 492194"/>
              <a:gd name="connsiteX24" fmla="*/ 86754 w 609377"/>
              <a:gd name="connsiteY24" fmla="*/ 179942 h 492194"/>
              <a:gd name="connsiteX25" fmla="*/ 173449 w 609377"/>
              <a:gd name="connsiteY25" fmla="*/ 266555 h 492194"/>
              <a:gd name="connsiteX26" fmla="*/ 173625 w 609377"/>
              <a:gd name="connsiteY26" fmla="*/ 286583 h 492194"/>
              <a:gd name="connsiteX27" fmla="*/ 173625 w 609377"/>
              <a:gd name="connsiteY27" fmla="*/ 310476 h 492194"/>
              <a:gd name="connsiteX28" fmla="*/ 178552 w 609377"/>
              <a:gd name="connsiteY28" fmla="*/ 310476 h 492194"/>
              <a:gd name="connsiteX29" fmla="*/ 384966 w 609377"/>
              <a:gd name="connsiteY29" fmla="*/ 310594 h 492194"/>
              <a:gd name="connsiteX30" fmla="*/ 420923 w 609377"/>
              <a:gd name="connsiteY30" fmla="*/ 346492 h 492194"/>
              <a:gd name="connsiteX31" fmla="*/ 384966 w 609377"/>
              <a:gd name="connsiteY31" fmla="*/ 382390 h 492194"/>
              <a:gd name="connsiteX32" fmla="*/ 179549 w 609377"/>
              <a:gd name="connsiteY32" fmla="*/ 382390 h 492194"/>
              <a:gd name="connsiteX33" fmla="*/ 171278 w 609377"/>
              <a:gd name="connsiteY33" fmla="*/ 382273 h 492194"/>
              <a:gd name="connsiteX34" fmla="*/ 148989 w 609377"/>
              <a:gd name="connsiteY34" fmla="*/ 372084 h 492194"/>
              <a:gd name="connsiteX35" fmla="*/ 78483 w 609377"/>
              <a:gd name="connsiteY35" fmla="*/ 295250 h 492194"/>
              <a:gd name="connsiteX36" fmla="*/ 69978 w 609377"/>
              <a:gd name="connsiteY36" fmla="*/ 294899 h 492194"/>
              <a:gd name="connsiteX37" fmla="*/ 69626 w 609377"/>
              <a:gd name="connsiteY37" fmla="*/ 303390 h 492194"/>
              <a:gd name="connsiteX38" fmla="*/ 140073 w 609377"/>
              <a:gd name="connsiteY38" fmla="*/ 380165 h 492194"/>
              <a:gd name="connsiteX39" fmla="*/ 171044 w 609377"/>
              <a:gd name="connsiteY39" fmla="*/ 393751 h 492194"/>
              <a:gd name="connsiteX40" fmla="*/ 171337 w 609377"/>
              <a:gd name="connsiteY40" fmla="*/ 393751 h 492194"/>
              <a:gd name="connsiteX41" fmla="*/ 173625 w 609377"/>
              <a:gd name="connsiteY41" fmla="*/ 393927 h 492194"/>
              <a:gd name="connsiteX42" fmla="*/ 173625 w 609377"/>
              <a:gd name="connsiteY42" fmla="*/ 492194 h 492194"/>
              <a:gd name="connsiteX43" fmla="*/ 0 w 609377"/>
              <a:gd name="connsiteY43" fmla="*/ 492194 h 492194"/>
              <a:gd name="connsiteX44" fmla="*/ 0 w 609377"/>
              <a:gd name="connsiteY44" fmla="*/ 261577 h 492194"/>
              <a:gd name="connsiteX45" fmla="*/ 81768 w 609377"/>
              <a:gd name="connsiteY45" fmla="*/ 179942 h 492194"/>
              <a:gd name="connsiteX46" fmla="*/ 165194 w 609377"/>
              <a:gd name="connsiteY46" fmla="*/ 0 h 492194"/>
              <a:gd name="connsiteX47" fmla="*/ 255306 w 609377"/>
              <a:gd name="connsiteY47" fmla="*/ 89971 h 492194"/>
              <a:gd name="connsiteX48" fmla="*/ 165194 w 609377"/>
              <a:gd name="connsiteY48" fmla="*/ 179942 h 492194"/>
              <a:gd name="connsiteX49" fmla="*/ 75082 w 609377"/>
              <a:gd name="connsiteY49" fmla="*/ 89971 h 492194"/>
              <a:gd name="connsiteX50" fmla="*/ 165194 w 609377"/>
              <a:gd name="connsiteY50" fmla="*/ 0 h 49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377" h="492194">
                <a:moveTo>
                  <a:pt x="199013" y="435742"/>
                </a:moveTo>
                <a:lnTo>
                  <a:pt x="414600" y="435742"/>
                </a:lnTo>
                <a:lnTo>
                  <a:pt x="518491" y="435742"/>
                </a:lnTo>
                <a:lnTo>
                  <a:pt x="572285" y="435742"/>
                </a:lnTo>
                <a:lnTo>
                  <a:pt x="572285" y="478222"/>
                </a:lnTo>
                <a:lnTo>
                  <a:pt x="518491" y="478222"/>
                </a:lnTo>
                <a:lnTo>
                  <a:pt x="414600" y="478222"/>
                </a:lnTo>
                <a:lnTo>
                  <a:pt x="199013" y="478222"/>
                </a:lnTo>
                <a:cubicBezTo>
                  <a:pt x="190038" y="478222"/>
                  <a:pt x="182764" y="470966"/>
                  <a:pt x="182764" y="461956"/>
                </a:cubicBezTo>
                <a:lnTo>
                  <a:pt x="182764" y="452008"/>
                </a:lnTo>
                <a:cubicBezTo>
                  <a:pt x="182764" y="443056"/>
                  <a:pt x="190038" y="435742"/>
                  <a:pt x="199013" y="435742"/>
                </a:cubicBezTo>
                <a:close/>
                <a:moveTo>
                  <a:pt x="598532" y="183306"/>
                </a:moveTo>
                <a:cubicBezTo>
                  <a:pt x="606921" y="186234"/>
                  <a:pt x="611379" y="195311"/>
                  <a:pt x="608505" y="203745"/>
                </a:cubicBezTo>
                <a:lnTo>
                  <a:pt x="536759" y="412878"/>
                </a:lnTo>
                <a:cubicBezTo>
                  <a:pt x="536173" y="414518"/>
                  <a:pt x="535352" y="416041"/>
                  <a:pt x="534354" y="417329"/>
                </a:cubicBezTo>
                <a:cubicBezTo>
                  <a:pt x="531480" y="421487"/>
                  <a:pt x="526611" y="424240"/>
                  <a:pt x="521155" y="424240"/>
                </a:cubicBezTo>
                <a:lnTo>
                  <a:pt x="265794" y="424240"/>
                </a:lnTo>
                <a:cubicBezTo>
                  <a:pt x="256877" y="424240"/>
                  <a:pt x="249661" y="417037"/>
                  <a:pt x="249661" y="408193"/>
                </a:cubicBezTo>
                <a:cubicBezTo>
                  <a:pt x="249661" y="399292"/>
                  <a:pt x="256877" y="392147"/>
                  <a:pt x="265794" y="392147"/>
                </a:cubicBezTo>
                <a:lnTo>
                  <a:pt x="509892" y="392147"/>
                </a:lnTo>
                <a:lnTo>
                  <a:pt x="578058" y="193320"/>
                </a:lnTo>
                <a:cubicBezTo>
                  <a:pt x="580933" y="184945"/>
                  <a:pt x="590084" y="180436"/>
                  <a:pt x="598532" y="183306"/>
                </a:cubicBezTo>
                <a:close/>
                <a:moveTo>
                  <a:pt x="81768" y="179942"/>
                </a:moveTo>
                <a:lnTo>
                  <a:pt x="81885" y="180118"/>
                </a:lnTo>
                <a:cubicBezTo>
                  <a:pt x="83527" y="180001"/>
                  <a:pt x="85111" y="179942"/>
                  <a:pt x="86754" y="179942"/>
                </a:cubicBezTo>
                <a:cubicBezTo>
                  <a:pt x="134618" y="179942"/>
                  <a:pt x="173449" y="218710"/>
                  <a:pt x="173449" y="266555"/>
                </a:cubicBezTo>
                <a:lnTo>
                  <a:pt x="173625" y="286583"/>
                </a:lnTo>
                <a:lnTo>
                  <a:pt x="173625" y="310476"/>
                </a:lnTo>
                <a:lnTo>
                  <a:pt x="178552" y="310476"/>
                </a:lnTo>
                <a:lnTo>
                  <a:pt x="384966" y="310594"/>
                </a:lnTo>
                <a:cubicBezTo>
                  <a:pt x="404793" y="310594"/>
                  <a:pt x="420923" y="326698"/>
                  <a:pt x="420923" y="346492"/>
                </a:cubicBezTo>
                <a:cubicBezTo>
                  <a:pt x="420923" y="366286"/>
                  <a:pt x="404793" y="382390"/>
                  <a:pt x="384966" y="382390"/>
                </a:cubicBezTo>
                <a:lnTo>
                  <a:pt x="179549" y="382390"/>
                </a:lnTo>
                <a:cubicBezTo>
                  <a:pt x="179549" y="382390"/>
                  <a:pt x="171865" y="382273"/>
                  <a:pt x="171278" y="382273"/>
                </a:cubicBezTo>
                <a:cubicBezTo>
                  <a:pt x="162773" y="382098"/>
                  <a:pt x="154678" y="378291"/>
                  <a:pt x="148989" y="372084"/>
                </a:cubicBezTo>
                <a:lnTo>
                  <a:pt x="78483" y="295250"/>
                </a:lnTo>
                <a:cubicBezTo>
                  <a:pt x="76254" y="292791"/>
                  <a:pt x="72441" y="292674"/>
                  <a:pt x="69978" y="294899"/>
                </a:cubicBezTo>
                <a:cubicBezTo>
                  <a:pt x="67514" y="297124"/>
                  <a:pt x="67397" y="300931"/>
                  <a:pt x="69626" y="303390"/>
                </a:cubicBezTo>
                <a:lnTo>
                  <a:pt x="140073" y="380165"/>
                </a:lnTo>
                <a:cubicBezTo>
                  <a:pt x="148050" y="388832"/>
                  <a:pt x="159312" y="393751"/>
                  <a:pt x="171044" y="393751"/>
                </a:cubicBezTo>
                <a:cubicBezTo>
                  <a:pt x="171161" y="393751"/>
                  <a:pt x="171161" y="393751"/>
                  <a:pt x="171337" y="393751"/>
                </a:cubicBezTo>
                <a:lnTo>
                  <a:pt x="173625" y="393927"/>
                </a:lnTo>
                <a:lnTo>
                  <a:pt x="173625" y="492194"/>
                </a:lnTo>
                <a:lnTo>
                  <a:pt x="0" y="492194"/>
                </a:lnTo>
                <a:lnTo>
                  <a:pt x="0" y="261577"/>
                </a:lnTo>
                <a:cubicBezTo>
                  <a:pt x="0" y="216485"/>
                  <a:pt x="36602" y="179942"/>
                  <a:pt x="81768" y="179942"/>
                </a:cubicBezTo>
                <a:close/>
                <a:moveTo>
                  <a:pt x="165194" y="0"/>
                </a:moveTo>
                <a:cubicBezTo>
                  <a:pt x="214961" y="0"/>
                  <a:pt x="255306" y="40281"/>
                  <a:pt x="255306" y="89971"/>
                </a:cubicBezTo>
                <a:cubicBezTo>
                  <a:pt x="255306" y="139661"/>
                  <a:pt x="214961" y="179942"/>
                  <a:pt x="165194" y="179942"/>
                </a:cubicBezTo>
                <a:cubicBezTo>
                  <a:pt x="115427" y="179942"/>
                  <a:pt x="75082" y="139661"/>
                  <a:pt x="75082" y="89971"/>
                </a:cubicBezTo>
                <a:cubicBezTo>
                  <a:pt x="75082" y="40281"/>
                  <a:pt x="115427" y="0"/>
                  <a:pt x="16519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3" name="任意多边形: 形状 22"/>
          <p:cNvSpPr/>
          <p:nvPr/>
        </p:nvSpPr>
        <p:spPr bwMode="auto">
          <a:xfrm>
            <a:off x="7329253" y="4821685"/>
            <a:ext cx="550358" cy="567412"/>
          </a:xfrm>
          <a:custGeom>
            <a:avLst/>
            <a:gdLst>
              <a:gd name="connsiteX0" fmla="*/ 359820 w 590079"/>
              <a:gd name="connsiteY0" fmla="*/ 443680 h 608363"/>
              <a:gd name="connsiteX1" fmla="*/ 355050 w 590079"/>
              <a:gd name="connsiteY1" fmla="*/ 448441 h 608363"/>
              <a:gd name="connsiteX2" fmla="*/ 355050 w 590079"/>
              <a:gd name="connsiteY2" fmla="*/ 453762 h 608363"/>
              <a:gd name="connsiteX3" fmla="*/ 349906 w 590079"/>
              <a:gd name="connsiteY3" fmla="*/ 460764 h 608363"/>
              <a:gd name="connsiteX4" fmla="*/ 329330 w 590079"/>
              <a:gd name="connsiteY4" fmla="*/ 486718 h 608363"/>
              <a:gd name="connsiteX5" fmla="*/ 344481 w 590079"/>
              <a:gd name="connsiteY5" fmla="*/ 512298 h 608363"/>
              <a:gd name="connsiteX6" fmla="*/ 363280 w 590079"/>
              <a:gd name="connsiteY6" fmla="*/ 520700 h 608363"/>
              <a:gd name="connsiteX7" fmla="*/ 370107 w 590079"/>
              <a:gd name="connsiteY7" fmla="*/ 524714 h 608363"/>
              <a:gd name="connsiteX8" fmla="*/ 367863 w 590079"/>
              <a:gd name="connsiteY8" fmla="*/ 541145 h 608363"/>
              <a:gd name="connsiteX9" fmla="*/ 355798 w 590079"/>
              <a:gd name="connsiteY9" fmla="*/ 542732 h 608363"/>
              <a:gd name="connsiteX10" fmla="*/ 337373 w 590079"/>
              <a:gd name="connsiteY10" fmla="*/ 537318 h 608363"/>
              <a:gd name="connsiteX11" fmla="*/ 331762 w 590079"/>
              <a:gd name="connsiteY11" fmla="*/ 539652 h 608363"/>
              <a:gd name="connsiteX12" fmla="*/ 328956 w 590079"/>
              <a:gd name="connsiteY12" fmla="*/ 549268 h 608363"/>
              <a:gd name="connsiteX13" fmla="*/ 332323 w 590079"/>
              <a:gd name="connsiteY13" fmla="*/ 556549 h 608363"/>
              <a:gd name="connsiteX14" fmla="*/ 348971 w 590079"/>
              <a:gd name="connsiteY14" fmla="*/ 561311 h 608363"/>
              <a:gd name="connsiteX15" fmla="*/ 353647 w 590079"/>
              <a:gd name="connsiteY15" fmla="*/ 566912 h 608363"/>
              <a:gd name="connsiteX16" fmla="*/ 353647 w 590079"/>
              <a:gd name="connsiteY16" fmla="*/ 573260 h 608363"/>
              <a:gd name="connsiteX17" fmla="*/ 357669 w 590079"/>
              <a:gd name="connsiteY17" fmla="*/ 577462 h 608363"/>
              <a:gd name="connsiteX18" fmla="*/ 367021 w 590079"/>
              <a:gd name="connsiteY18" fmla="*/ 577462 h 608363"/>
              <a:gd name="connsiteX19" fmla="*/ 370856 w 590079"/>
              <a:gd name="connsiteY19" fmla="*/ 573541 h 608363"/>
              <a:gd name="connsiteX20" fmla="*/ 370856 w 590079"/>
              <a:gd name="connsiteY20" fmla="*/ 564765 h 608363"/>
              <a:gd name="connsiteX21" fmla="*/ 374877 w 590079"/>
              <a:gd name="connsiteY21" fmla="*/ 559537 h 608363"/>
              <a:gd name="connsiteX22" fmla="*/ 391244 w 590079"/>
              <a:gd name="connsiteY22" fmla="*/ 549081 h 608363"/>
              <a:gd name="connsiteX23" fmla="*/ 381985 w 590079"/>
              <a:gd name="connsiteY23" fmla="*/ 504642 h 608363"/>
              <a:gd name="connsiteX24" fmla="*/ 365525 w 590079"/>
              <a:gd name="connsiteY24" fmla="*/ 497174 h 608363"/>
              <a:gd name="connsiteX25" fmla="*/ 356546 w 590079"/>
              <a:gd name="connsiteY25" fmla="*/ 492133 h 608363"/>
              <a:gd name="connsiteX26" fmla="*/ 358510 w 590079"/>
              <a:gd name="connsiteY26" fmla="*/ 478129 h 608363"/>
              <a:gd name="connsiteX27" fmla="*/ 364028 w 590079"/>
              <a:gd name="connsiteY27" fmla="*/ 477009 h 608363"/>
              <a:gd name="connsiteX28" fmla="*/ 384698 w 590079"/>
              <a:gd name="connsiteY28" fmla="*/ 481116 h 608363"/>
              <a:gd name="connsiteX29" fmla="*/ 390216 w 590079"/>
              <a:gd name="connsiteY29" fmla="*/ 478782 h 608363"/>
              <a:gd name="connsiteX30" fmla="*/ 393489 w 590079"/>
              <a:gd name="connsiteY30" fmla="*/ 467953 h 608363"/>
              <a:gd name="connsiteX31" fmla="*/ 390964 w 590079"/>
              <a:gd name="connsiteY31" fmla="*/ 462818 h 608363"/>
              <a:gd name="connsiteX32" fmla="*/ 377870 w 590079"/>
              <a:gd name="connsiteY32" fmla="*/ 458990 h 608363"/>
              <a:gd name="connsiteX33" fmla="*/ 371884 w 590079"/>
              <a:gd name="connsiteY33" fmla="*/ 452175 h 608363"/>
              <a:gd name="connsiteX34" fmla="*/ 363374 w 590079"/>
              <a:gd name="connsiteY34" fmla="*/ 443680 h 608363"/>
              <a:gd name="connsiteX35" fmla="*/ 363000 w 590079"/>
              <a:gd name="connsiteY35" fmla="*/ 412685 h 608363"/>
              <a:gd name="connsiteX36" fmla="*/ 461015 w 590079"/>
              <a:gd name="connsiteY36" fmla="*/ 510524 h 608363"/>
              <a:gd name="connsiteX37" fmla="*/ 363000 w 590079"/>
              <a:gd name="connsiteY37" fmla="*/ 608363 h 608363"/>
              <a:gd name="connsiteX38" fmla="*/ 264984 w 590079"/>
              <a:gd name="connsiteY38" fmla="*/ 510524 h 608363"/>
              <a:gd name="connsiteX39" fmla="*/ 363000 w 590079"/>
              <a:gd name="connsiteY39" fmla="*/ 412685 h 608363"/>
              <a:gd name="connsiteX40" fmla="*/ 184386 w 590079"/>
              <a:gd name="connsiteY40" fmla="*/ 238969 h 608363"/>
              <a:gd name="connsiteX41" fmla="*/ 184386 w 590079"/>
              <a:gd name="connsiteY41" fmla="*/ 278939 h 608363"/>
              <a:gd name="connsiteX42" fmla="*/ 541729 w 590079"/>
              <a:gd name="connsiteY42" fmla="*/ 278939 h 608363"/>
              <a:gd name="connsiteX43" fmla="*/ 541729 w 590079"/>
              <a:gd name="connsiteY43" fmla="*/ 238969 h 608363"/>
              <a:gd name="connsiteX44" fmla="*/ 174005 w 590079"/>
              <a:gd name="connsiteY44" fmla="*/ 190687 h 608363"/>
              <a:gd name="connsiteX45" fmla="*/ 551923 w 590079"/>
              <a:gd name="connsiteY45" fmla="*/ 190687 h 608363"/>
              <a:gd name="connsiteX46" fmla="*/ 590079 w 590079"/>
              <a:gd name="connsiteY46" fmla="*/ 228790 h 608363"/>
              <a:gd name="connsiteX47" fmla="*/ 590079 w 590079"/>
              <a:gd name="connsiteY47" fmla="*/ 495227 h 608363"/>
              <a:gd name="connsiteX48" fmla="*/ 551923 w 590079"/>
              <a:gd name="connsiteY48" fmla="*/ 533330 h 608363"/>
              <a:gd name="connsiteX49" fmla="*/ 501234 w 590079"/>
              <a:gd name="connsiteY49" fmla="*/ 533330 h 608363"/>
              <a:gd name="connsiteX50" fmla="*/ 503105 w 590079"/>
              <a:gd name="connsiteY50" fmla="*/ 510543 h 608363"/>
              <a:gd name="connsiteX51" fmla="*/ 500673 w 590079"/>
              <a:gd name="connsiteY51" fmla="*/ 485048 h 608363"/>
              <a:gd name="connsiteX52" fmla="*/ 541729 w 590079"/>
              <a:gd name="connsiteY52" fmla="*/ 485048 h 608363"/>
              <a:gd name="connsiteX53" fmla="*/ 541729 w 590079"/>
              <a:gd name="connsiteY53" fmla="*/ 357479 h 608363"/>
              <a:gd name="connsiteX54" fmla="*/ 184386 w 590079"/>
              <a:gd name="connsiteY54" fmla="*/ 357479 h 608363"/>
              <a:gd name="connsiteX55" fmla="*/ 184386 w 590079"/>
              <a:gd name="connsiteY55" fmla="*/ 485141 h 608363"/>
              <a:gd name="connsiteX56" fmla="*/ 225255 w 590079"/>
              <a:gd name="connsiteY56" fmla="*/ 485141 h 608363"/>
              <a:gd name="connsiteX57" fmla="*/ 222917 w 590079"/>
              <a:gd name="connsiteY57" fmla="*/ 510636 h 608363"/>
              <a:gd name="connsiteX58" fmla="*/ 224787 w 590079"/>
              <a:gd name="connsiteY58" fmla="*/ 533423 h 608363"/>
              <a:gd name="connsiteX59" fmla="*/ 174005 w 590079"/>
              <a:gd name="connsiteY59" fmla="*/ 533423 h 608363"/>
              <a:gd name="connsiteX60" fmla="*/ 135849 w 590079"/>
              <a:gd name="connsiteY60" fmla="*/ 495320 h 608363"/>
              <a:gd name="connsiteX61" fmla="*/ 135849 w 590079"/>
              <a:gd name="connsiteY61" fmla="*/ 228790 h 608363"/>
              <a:gd name="connsiteX62" fmla="*/ 174005 w 590079"/>
              <a:gd name="connsiteY62" fmla="*/ 190687 h 608363"/>
              <a:gd name="connsiteX63" fmla="*/ 133331 w 590079"/>
              <a:gd name="connsiteY63" fmla="*/ 2489 h 608363"/>
              <a:gd name="connsiteX64" fmla="*/ 162101 w 590079"/>
              <a:gd name="connsiteY64" fmla="*/ 3294 h 608363"/>
              <a:gd name="connsiteX65" fmla="*/ 473718 w 590079"/>
              <a:gd name="connsiteY65" fmla="*/ 141211 h 608363"/>
              <a:gd name="connsiteX66" fmla="*/ 470351 w 590079"/>
              <a:gd name="connsiteY66" fmla="*/ 156804 h 608363"/>
              <a:gd name="connsiteX67" fmla="*/ 470351 w 590079"/>
              <a:gd name="connsiteY67" fmla="*/ 156898 h 608363"/>
              <a:gd name="connsiteX68" fmla="*/ 174072 w 590079"/>
              <a:gd name="connsiteY68" fmla="*/ 156898 h 608363"/>
              <a:gd name="connsiteX69" fmla="*/ 102059 w 590079"/>
              <a:gd name="connsiteY69" fmla="*/ 228891 h 608363"/>
              <a:gd name="connsiteX70" fmla="*/ 102059 w 590079"/>
              <a:gd name="connsiteY70" fmla="*/ 332631 h 608363"/>
              <a:gd name="connsiteX71" fmla="*/ 85225 w 590079"/>
              <a:gd name="connsiteY71" fmla="*/ 343463 h 608363"/>
              <a:gd name="connsiteX72" fmla="*/ 22378 w 590079"/>
              <a:gd name="connsiteY72" fmla="*/ 316291 h 608363"/>
              <a:gd name="connsiteX73" fmla="*/ 3300 w 590079"/>
              <a:gd name="connsiteY73" fmla="*/ 266615 h 608363"/>
              <a:gd name="connsiteX74" fmla="*/ 112347 w 590079"/>
              <a:gd name="connsiteY74" fmla="*/ 22343 h 608363"/>
              <a:gd name="connsiteX75" fmla="*/ 133331 w 590079"/>
              <a:gd name="connsiteY75" fmla="*/ 2489 h 60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90079" h="608363">
                <a:moveTo>
                  <a:pt x="359820" y="443680"/>
                </a:moveTo>
                <a:cubicBezTo>
                  <a:pt x="355798" y="443773"/>
                  <a:pt x="355143" y="444427"/>
                  <a:pt x="355050" y="448441"/>
                </a:cubicBezTo>
                <a:lnTo>
                  <a:pt x="355050" y="453762"/>
                </a:lnTo>
                <a:cubicBezTo>
                  <a:pt x="355050" y="458990"/>
                  <a:pt x="354956" y="458897"/>
                  <a:pt x="349906" y="460764"/>
                </a:cubicBezTo>
                <a:cubicBezTo>
                  <a:pt x="337747" y="465245"/>
                  <a:pt x="330078" y="473461"/>
                  <a:pt x="329330" y="486718"/>
                </a:cubicBezTo>
                <a:cubicBezTo>
                  <a:pt x="328582" y="498574"/>
                  <a:pt x="334755" y="506510"/>
                  <a:pt x="344481" y="512298"/>
                </a:cubicBezTo>
                <a:cubicBezTo>
                  <a:pt x="350280" y="515845"/>
                  <a:pt x="356920" y="517993"/>
                  <a:pt x="363280" y="520700"/>
                </a:cubicBezTo>
                <a:cubicBezTo>
                  <a:pt x="365805" y="521727"/>
                  <a:pt x="368050" y="522941"/>
                  <a:pt x="370107" y="524714"/>
                </a:cubicBezTo>
                <a:cubicBezTo>
                  <a:pt x="376280" y="529662"/>
                  <a:pt x="375158" y="538065"/>
                  <a:pt x="367863" y="541145"/>
                </a:cubicBezTo>
                <a:cubicBezTo>
                  <a:pt x="364028" y="542919"/>
                  <a:pt x="359913" y="543293"/>
                  <a:pt x="355798" y="542732"/>
                </a:cubicBezTo>
                <a:cubicBezTo>
                  <a:pt x="349345" y="541986"/>
                  <a:pt x="343172" y="540305"/>
                  <a:pt x="337373" y="537318"/>
                </a:cubicBezTo>
                <a:cubicBezTo>
                  <a:pt x="333819" y="535544"/>
                  <a:pt x="332884" y="535917"/>
                  <a:pt x="331762" y="539652"/>
                </a:cubicBezTo>
                <a:cubicBezTo>
                  <a:pt x="330733" y="542732"/>
                  <a:pt x="329891" y="546000"/>
                  <a:pt x="328956" y="549268"/>
                </a:cubicBezTo>
                <a:cubicBezTo>
                  <a:pt x="327740" y="553562"/>
                  <a:pt x="328208" y="554589"/>
                  <a:pt x="332323" y="556549"/>
                </a:cubicBezTo>
                <a:cubicBezTo>
                  <a:pt x="337560" y="559070"/>
                  <a:pt x="343172" y="560470"/>
                  <a:pt x="348971" y="561311"/>
                </a:cubicBezTo>
                <a:cubicBezTo>
                  <a:pt x="353460" y="562058"/>
                  <a:pt x="353647" y="562338"/>
                  <a:pt x="353647" y="566912"/>
                </a:cubicBezTo>
                <a:lnTo>
                  <a:pt x="353647" y="573260"/>
                </a:lnTo>
                <a:cubicBezTo>
                  <a:pt x="353647" y="575874"/>
                  <a:pt x="354956" y="577462"/>
                  <a:pt x="357669" y="577462"/>
                </a:cubicBezTo>
                <a:cubicBezTo>
                  <a:pt x="360755" y="577648"/>
                  <a:pt x="363935" y="577648"/>
                  <a:pt x="367021" y="577462"/>
                </a:cubicBezTo>
                <a:cubicBezTo>
                  <a:pt x="369546" y="577462"/>
                  <a:pt x="370856" y="576155"/>
                  <a:pt x="370856" y="573541"/>
                </a:cubicBezTo>
                <a:cubicBezTo>
                  <a:pt x="370856" y="570553"/>
                  <a:pt x="371043" y="567659"/>
                  <a:pt x="370856" y="564765"/>
                </a:cubicBezTo>
                <a:cubicBezTo>
                  <a:pt x="370762" y="561777"/>
                  <a:pt x="371978" y="560284"/>
                  <a:pt x="374877" y="559537"/>
                </a:cubicBezTo>
                <a:cubicBezTo>
                  <a:pt x="381331" y="557856"/>
                  <a:pt x="386942" y="554309"/>
                  <a:pt x="391244" y="549081"/>
                </a:cubicBezTo>
                <a:cubicBezTo>
                  <a:pt x="403029" y="534797"/>
                  <a:pt x="398446" y="513792"/>
                  <a:pt x="381985" y="504642"/>
                </a:cubicBezTo>
                <a:cubicBezTo>
                  <a:pt x="376654" y="501655"/>
                  <a:pt x="371136" y="499414"/>
                  <a:pt x="365525" y="497174"/>
                </a:cubicBezTo>
                <a:cubicBezTo>
                  <a:pt x="362251" y="495867"/>
                  <a:pt x="359258" y="494186"/>
                  <a:pt x="356546" y="492133"/>
                </a:cubicBezTo>
                <a:cubicBezTo>
                  <a:pt x="351215" y="487838"/>
                  <a:pt x="352338" y="480930"/>
                  <a:pt x="358510" y="478129"/>
                </a:cubicBezTo>
                <a:cubicBezTo>
                  <a:pt x="360287" y="477382"/>
                  <a:pt x="362158" y="477195"/>
                  <a:pt x="364028" y="477009"/>
                </a:cubicBezTo>
                <a:cubicBezTo>
                  <a:pt x="371230" y="476635"/>
                  <a:pt x="378151" y="477942"/>
                  <a:pt x="384698" y="481116"/>
                </a:cubicBezTo>
                <a:cubicBezTo>
                  <a:pt x="387971" y="482610"/>
                  <a:pt x="389093" y="482143"/>
                  <a:pt x="390216" y="478782"/>
                </a:cubicBezTo>
                <a:cubicBezTo>
                  <a:pt x="391431" y="475328"/>
                  <a:pt x="392460" y="471594"/>
                  <a:pt x="393489" y="467953"/>
                </a:cubicBezTo>
                <a:cubicBezTo>
                  <a:pt x="394237" y="465432"/>
                  <a:pt x="393302" y="463845"/>
                  <a:pt x="390964" y="462818"/>
                </a:cubicBezTo>
                <a:cubicBezTo>
                  <a:pt x="386755" y="460951"/>
                  <a:pt x="382359" y="459737"/>
                  <a:pt x="377870" y="458990"/>
                </a:cubicBezTo>
                <a:cubicBezTo>
                  <a:pt x="371884" y="458150"/>
                  <a:pt x="371884" y="458150"/>
                  <a:pt x="371884" y="452175"/>
                </a:cubicBezTo>
                <a:cubicBezTo>
                  <a:pt x="371884" y="443680"/>
                  <a:pt x="371884" y="443680"/>
                  <a:pt x="363374" y="443680"/>
                </a:cubicBezTo>
                <a:close/>
                <a:moveTo>
                  <a:pt x="363000" y="412685"/>
                </a:moveTo>
                <a:cubicBezTo>
                  <a:pt x="417151" y="412685"/>
                  <a:pt x="461015" y="456470"/>
                  <a:pt x="461015" y="510524"/>
                </a:cubicBezTo>
                <a:cubicBezTo>
                  <a:pt x="461015" y="564578"/>
                  <a:pt x="417151" y="608363"/>
                  <a:pt x="363000" y="608363"/>
                </a:cubicBezTo>
                <a:cubicBezTo>
                  <a:pt x="308941" y="608363"/>
                  <a:pt x="264984" y="564578"/>
                  <a:pt x="264984" y="510524"/>
                </a:cubicBezTo>
                <a:cubicBezTo>
                  <a:pt x="264984" y="456470"/>
                  <a:pt x="308941" y="412685"/>
                  <a:pt x="363000" y="412685"/>
                </a:cubicBezTo>
                <a:close/>
                <a:moveTo>
                  <a:pt x="184386" y="238969"/>
                </a:moveTo>
                <a:lnTo>
                  <a:pt x="184386" y="278939"/>
                </a:lnTo>
                <a:lnTo>
                  <a:pt x="541729" y="278939"/>
                </a:lnTo>
                <a:lnTo>
                  <a:pt x="541729" y="238969"/>
                </a:lnTo>
                <a:close/>
                <a:moveTo>
                  <a:pt x="174005" y="190687"/>
                </a:moveTo>
                <a:lnTo>
                  <a:pt x="551923" y="190687"/>
                </a:lnTo>
                <a:cubicBezTo>
                  <a:pt x="573058" y="190687"/>
                  <a:pt x="590079" y="207684"/>
                  <a:pt x="590079" y="228790"/>
                </a:cubicBezTo>
                <a:lnTo>
                  <a:pt x="590079" y="495227"/>
                </a:lnTo>
                <a:cubicBezTo>
                  <a:pt x="590079" y="516240"/>
                  <a:pt x="573058" y="533330"/>
                  <a:pt x="551923" y="533330"/>
                </a:cubicBezTo>
                <a:lnTo>
                  <a:pt x="501234" y="533330"/>
                </a:lnTo>
                <a:cubicBezTo>
                  <a:pt x="502450" y="525859"/>
                  <a:pt x="503105" y="518294"/>
                  <a:pt x="503105" y="510543"/>
                </a:cubicBezTo>
                <a:cubicBezTo>
                  <a:pt x="503105" y="501858"/>
                  <a:pt x="502170" y="493359"/>
                  <a:pt x="500673" y="485048"/>
                </a:cubicBezTo>
                <a:lnTo>
                  <a:pt x="541729" y="485048"/>
                </a:lnTo>
                <a:lnTo>
                  <a:pt x="541729" y="357479"/>
                </a:lnTo>
                <a:lnTo>
                  <a:pt x="184386" y="357479"/>
                </a:lnTo>
                <a:lnTo>
                  <a:pt x="184386" y="485141"/>
                </a:lnTo>
                <a:lnTo>
                  <a:pt x="225255" y="485141"/>
                </a:lnTo>
                <a:cubicBezTo>
                  <a:pt x="223758" y="493453"/>
                  <a:pt x="222917" y="501951"/>
                  <a:pt x="222917" y="510636"/>
                </a:cubicBezTo>
                <a:cubicBezTo>
                  <a:pt x="222917" y="518387"/>
                  <a:pt x="223478" y="525952"/>
                  <a:pt x="224787" y="533423"/>
                </a:cubicBezTo>
                <a:lnTo>
                  <a:pt x="174005" y="533423"/>
                </a:lnTo>
                <a:cubicBezTo>
                  <a:pt x="152963" y="533423"/>
                  <a:pt x="135849" y="516426"/>
                  <a:pt x="135849" y="495320"/>
                </a:cubicBezTo>
                <a:lnTo>
                  <a:pt x="135849" y="228790"/>
                </a:lnTo>
                <a:cubicBezTo>
                  <a:pt x="135849" y="207684"/>
                  <a:pt x="152963" y="190687"/>
                  <a:pt x="174005" y="190687"/>
                </a:cubicBezTo>
                <a:close/>
                <a:moveTo>
                  <a:pt x="133331" y="2489"/>
                </a:moveTo>
                <a:cubicBezTo>
                  <a:pt x="142344" y="-954"/>
                  <a:pt x="152655" y="-954"/>
                  <a:pt x="162101" y="3294"/>
                </a:cubicBezTo>
                <a:lnTo>
                  <a:pt x="473718" y="141211"/>
                </a:lnTo>
                <a:cubicBezTo>
                  <a:pt x="481761" y="144852"/>
                  <a:pt x="479236" y="156804"/>
                  <a:pt x="470351" y="156804"/>
                </a:cubicBezTo>
                <a:lnTo>
                  <a:pt x="470351" y="156898"/>
                </a:lnTo>
                <a:lnTo>
                  <a:pt x="174072" y="156898"/>
                </a:lnTo>
                <a:cubicBezTo>
                  <a:pt x="134325" y="156898"/>
                  <a:pt x="102059" y="189206"/>
                  <a:pt x="102059" y="228891"/>
                </a:cubicBezTo>
                <a:lnTo>
                  <a:pt x="102059" y="332631"/>
                </a:lnTo>
                <a:cubicBezTo>
                  <a:pt x="102059" y="341222"/>
                  <a:pt x="93081" y="346918"/>
                  <a:pt x="85225" y="343463"/>
                </a:cubicBezTo>
                <a:lnTo>
                  <a:pt x="22378" y="316291"/>
                </a:lnTo>
                <a:cubicBezTo>
                  <a:pt x="3300" y="307793"/>
                  <a:pt x="-5211" y="285570"/>
                  <a:pt x="3300" y="266615"/>
                </a:cubicBezTo>
                <a:lnTo>
                  <a:pt x="112347" y="22343"/>
                </a:lnTo>
                <a:cubicBezTo>
                  <a:pt x="116602" y="12819"/>
                  <a:pt x="124318" y="5932"/>
                  <a:pt x="133331" y="248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24" name="直接连接符 23"/>
          <p:cNvCxnSpPr/>
          <p:nvPr/>
        </p:nvCxnSpPr>
        <p:spPr>
          <a:xfrm>
            <a:off x="673100" y="3579218"/>
            <a:ext cx="310804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组合 24"/>
          <p:cNvGrpSpPr/>
          <p:nvPr/>
        </p:nvGrpSpPr>
        <p:grpSpPr>
          <a:xfrm>
            <a:off x="673100" y="1952119"/>
            <a:ext cx="3008671" cy="1356746"/>
            <a:chOff x="669925" y="1789366"/>
            <a:chExt cx="3176113" cy="1356746"/>
          </a:xfrm>
        </p:grpSpPr>
        <p:sp>
          <p:nvSpPr>
            <p:cNvPr id="36" name="矩形 35"/>
            <p:cNvSpPr/>
            <p:nvPr/>
          </p:nvSpPr>
          <p:spPr bwMode="auto">
            <a:xfrm>
              <a:off x="669927" y="2231170"/>
              <a:ext cx="3176111" cy="914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a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7" name="文本框 36"/>
            <p:cNvSpPr txBox="1"/>
            <p:nvPr/>
          </p:nvSpPr>
          <p:spPr bwMode="auto">
            <a:xfrm>
              <a:off x="669925" y="1789366"/>
              <a:ext cx="3176113" cy="4418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>
                  <a:solidFill>
                    <a:schemeClr val="bg1"/>
                  </a:solidFill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sz="2000" b="1">
                  <a:solidFill>
                    <a:schemeClr val="bg1"/>
                  </a:solidFill>
                  <a:cs typeface="+mn-ea"/>
                  <a:sym typeface="+mn-lt"/>
                </a:rPr>
                <a:t>ere</a:t>
              </a:r>
              <a:endParaRPr lang="en-US" altLang="zh-CN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26" name="直接连接符 25"/>
          <p:cNvCxnSpPr/>
          <p:nvPr/>
        </p:nvCxnSpPr>
        <p:spPr>
          <a:xfrm>
            <a:off x="8412448" y="3579218"/>
            <a:ext cx="310804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组合 26"/>
          <p:cNvGrpSpPr/>
          <p:nvPr/>
        </p:nvGrpSpPr>
        <p:grpSpPr>
          <a:xfrm>
            <a:off x="8510229" y="1952119"/>
            <a:ext cx="3008671" cy="1356746"/>
            <a:chOff x="7804624" y="1789366"/>
            <a:chExt cx="3176113" cy="1356746"/>
          </a:xfrm>
        </p:grpSpPr>
        <p:sp>
          <p:nvSpPr>
            <p:cNvPr id="34" name="矩形 33"/>
            <p:cNvSpPr/>
            <p:nvPr/>
          </p:nvSpPr>
          <p:spPr bwMode="auto">
            <a:xfrm>
              <a:off x="7804626" y="2231170"/>
              <a:ext cx="3176111" cy="914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a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marL="171450" indent="-171450" algn="r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5" name="文本框 34"/>
            <p:cNvSpPr txBox="1"/>
            <p:nvPr/>
          </p:nvSpPr>
          <p:spPr bwMode="auto">
            <a:xfrm>
              <a:off x="7804624" y="1789366"/>
              <a:ext cx="317611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e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673100" y="3849571"/>
            <a:ext cx="3008671" cy="1356746"/>
            <a:chOff x="669925" y="3686818"/>
            <a:chExt cx="3176113" cy="1356746"/>
          </a:xfrm>
        </p:grpSpPr>
        <p:sp>
          <p:nvSpPr>
            <p:cNvPr id="32" name="矩形 31"/>
            <p:cNvSpPr/>
            <p:nvPr/>
          </p:nvSpPr>
          <p:spPr bwMode="auto">
            <a:xfrm>
              <a:off x="669927" y="4128622"/>
              <a:ext cx="3176111" cy="914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a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3" name="文本框 32"/>
            <p:cNvSpPr txBox="1"/>
            <p:nvPr/>
          </p:nvSpPr>
          <p:spPr bwMode="auto">
            <a:xfrm>
              <a:off x="669925" y="3686818"/>
              <a:ext cx="317611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>
                  <a:cs typeface="+mn-ea"/>
                  <a:sym typeface="+mn-lt"/>
                </a:rPr>
                <a:t>Text h</a:t>
              </a:r>
              <a:r>
                <a:rPr lang="en-US" altLang="zh-CN" sz="100" b="1" dirty="0">
                  <a:cs typeface="+mn-ea"/>
                  <a:sym typeface="+mn-lt"/>
                </a:rPr>
                <a:t> </a:t>
              </a:r>
              <a:r>
                <a:rPr lang="en-US" altLang="zh-CN" sz="2000" b="1" dirty="0">
                  <a:cs typeface="+mn-ea"/>
                  <a:sym typeface="+mn-lt"/>
                </a:rPr>
                <a:t>ere</a:t>
              </a:r>
            </a:p>
          </p:txBody>
        </p:sp>
      </p:grpSp>
      <p:grpSp>
        <p:nvGrpSpPr>
          <p:cNvPr id="29" name="组合 28"/>
          <p:cNvGrpSpPr/>
          <p:nvPr/>
        </p:nvGrpSpPr>
        <p:grpSpPr>
          <a:xfrm>
            <a:off x="8510229" y="3849571"/>
            <a:ext cx="3008671" cy="1356746"/>
            <a:chOff x="7804624" y="3686818"/>
            <a:chExt cx="3176113" cy="1356746"/>
          </a:xfrm>
        </p:grpSpPr>
        <p:sp>
          <p:nvSpPr>
            <p:cNvPr id="30" name="矩形 29"/>
            <p:cNvSpPr/>
            <p:nvPr/>
          </p:nvSpPr>
          <p:spPr bwMode="auto">
            <a:xfrm>
              <a:off x="7804626" y="4128622"/>
              <a:ext cx="3176111" cy="914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ta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marL="171450" indent="-171450" algn="r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1" name="文本框 30"/>
            <p:cNvSpPr txBox="1"/>
            <p:nvPr/>
          </p:nvSpPr>
          <p:spPr bwMode="auto">
            <a:xfrm>
              <a:off x="7804624" y="3686818"/>
              <a:ext cx="3176113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e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5839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家庭日常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3E814E4A-CF57-4693-9F9D-8892BB9B9A9E}"/>
              </a:ext>
            </a:extLst>
          </p:cNvPr>
          <p:cNvSpPr/>
          <p:nvPr/>
        </p:nvSpPr>
        <p:spPr bwMode="auto">
          <a:xfrm>
            <a:off x="4712661" y="3187864"/>
            <a:ext cx="786159" cy="564769"/>
          </a:xfrm>
          <a:custGeom>
            <a:avLst/>
            <a:gdLst>
              <a:gd name="T0" fmla="*/ 0 w 213"/>
              <a:gd name="T1" fmla="*/ 12 h 152"/>
              <a:gd name="T2" fmla="*/ 68 w 213"/>
              <a:gd name="T3" fmla="*/ 25 h 152"/>
              <a:gd name="T4" fmla="*/ 142 w 213"/>
              <a:gd name="T5" fmla="*/ 78 h 152"/>
              <a:gd name="T6" fmla="*/ 203 w 213"/>
              <a:gd name="T7" fmla="*/ 152 h 152"/>
              <a:gd name="T8" fmla="*/ 213 w 213"/>
              <a:gd name="T9" fmla="*/ 144 h 152"/>
              <a:gd name="T10" fmla="*/ 128 w 213"/>
              <a:gd name="T11" fmla="*/ 48 h 152"/>
              <a:gd name="T12" fmla="*/ 72 w 213"/>
              <a:gd name="T13" fmla="*/ 13 h 152"/>
              <a:gd name="T14" fmla="*/ 0 w 213"/>
              <a:gd name="T15" fmla="*/ 0 h 152"/>
              <a:gd name="T16" fmla="*/ 0 w 213"/>
              <a:gd name="T17" fmla="*/ 12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3" h="152">
                <a:moveTo>
                  <a:pt x="0" y="12"/>
                </a:moveTo>
                <a:cubicBezTo>
                  <a:pt x="26" y="12"/>
                  <a:pt x="48" y="17"/>
                  <a:pt x="68" y="25"/>
                </a:cubicBezTo>
                <a:cubicBezTo>
                  <a:pt x="97" y="36"/>
                  <a:pt x="121" y="56"/>
                  <a:pt x="142" y="78"/>
                </a:cubicBezTo>
                <a:cubicBezTo>
                  <a:pt x="163" y="101"/>
                  <a:pt x="183" y="127"/>
                  <a:pt x="203" y="152"/>
                </a:cubicBezTo>
                <a:cubicBezTo>
                  <a:pt x="213" y="144"/>
                  <a:pt x="213" y="144"/>
                  <a:pt x="213" y="144"/>
                </a:cubicBezTo>
                <a:cubicBezTo>
                  <a:pt x="185" y="111"/>
                  <a:pt x="160" y="76"/>
                  <a:pt x="128" y="48"/>
                </a:cubicBezTo>
                <a:cubicBezTo>
                  <a:pt x="111" y="34"/>
                  <a:pt x="93" y="22"/>
                  <a:pt x="72" y="13"/>
                </a:cubicBezTo>
                <a:cubicBezTo>
                  <a:pt x="51" y="5"/>
                  <a:pt x="28" y="0"/>
                  <a:pt x="0" y="0"/>
                </a:cubicBezTo>
                <a:cubicBezTo>
                  <a:pt x="0" y="12"/>
                  <a:pt x="0" y="12"/>
                  <a:pt x="0" y="1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676EADC8-CAC0-4C16-A3D3-8CDFBC6DE0C6}"/>
              </a:ext>
            </a:extLst>
          </p:cNvPr>
          <p:cNvSpPr/>
          <p:nvPr/>
        </p:nvSpPr>
        <p:spPr bwMode="auto">
          <a:xfrm>
            <a:off x="4109489" y="3187864"/>
            <a:ext cx="603172" cy="338862"/>
          </a:xfrm>
          <a:custGeom>
            <a:avLst/>
            <a:gdLst>
              <a:gd name="T0" fmla="*/ 9 w 163"/>
              <a:gd name="T1" fmla="*/ 91 h 91"/>
              <a:gd name="T2" fmla="*/ 74 w 163"/>
              <a:gd name="T3" fmla="*/ 35 h 91"/>
              <a:gd name="T4" fmla="*/ 163 w 163"/>
              <a:gd name="T5" fmla="*/ 12 h 91"/>
              <a:gd name="T6" fmla="*/ 163 w 163"/>
              <a:gd name="T7" fmla="*/ 0 h 91"/>
              <a:gd name="T8" fmla="*/ 68 w 163"/>
              <a:gd name="T9" fmla="*/ 25 h 91"/>
              <a:gd name="T10" fmla="*/ 0 w 163"/>
              <a:gd name="T11" fmla="*/ 83 h 91"/>
              <a:gd name="T12" fmla="*/ 9 w 163"/>
              <a:gd name="T13" fmla="*/ 9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3" h="91">
                <a:moveTo>
                  <a:pt x="9" y="91"/>
                </a:moveTo>
                <a:cubicBezTo>
                  <a:pt x="29" y="69"/>
                  <a:pt x="49" y="49"/>
                  <a:pt x="74" y="35"/>
                </a:cubicBezTo>
                <a:cubicBezTo>
                  <a:pt x="98" y="21"/>
                  <a:pt x="127" y="12"/>
                  <a:pt x="163" y="12"/>
                </a:cubicBezTo>
                <a:cubicBezTo>
                  <a:pt x="163" y="0"/>
                  <a:pt x="163" y="0"/>
                  <a:pt x="163" y="0"/>
                </a:cubicBezTo>
                <a:cubicBezTo>
                  <a:pt x="125" y="0"/>
                  <a:pt x="94" y="10"/>
                  <a:pt x="68" y="25"/>
                </a:cubicBezTo>
                <a:cubicBezTo>
                  <a:pt x="41" y="40"/>
                  <a:pt x="20" y="61"/>
                  <a:pt x="0" y="83"/>
                </a:cubicBezTo>
                <a:cubicBezTo>
                  <a:pt x="9" y="91"/>
                  <a:pt x="9" y="91"/>
                  <a:pt x="9" y="91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E00005A8-C981-4BD6-B7C5-920280A02B83}"/>
              </a:ext>
            </a:extLst>
          </p:cNvPr>
          <p:cNvSpPr/>
          <p:nvPr/>
        </p:nvSpPr>
        <p:spPr bwMode="auto">
          <a:xfrm>
            <a:off x="4184037" y="3361813"/>
            <a:ext cx="1068542" cy="1073062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25951A97-CAEF-4DD3-AD99-BC0BF00AC464}"/>
              </a:ext>
            </a:extLst>
          </p:cNvPr>
          <p:cNvSpPr/>
          <p:nvPr/>
        </p:nvSpPr>
        <p:spPr bwMode="auto">
          <a:xfrm>
            <a:off x="5462675" y="3585461"/>
            <a:ext cx="1369001" cy="508293"/>
          </a:xfrm>
          <a:custGeom>
            <a:avLst/>
            <a:gdLst>
              <a:gd name="T0" fmla="*/ 0 w 371"/>
              <a:gd name="T1" fmla="*/ 45 h 137"/>
              <a:gd name="T2" fmla="*/ 70 w 371"/>
              <a:gd name="T3" fmla="*/ 109 h 137"/>
              <a:gd name="T4" fmla="*/ 171 w 371"/>
              <a:gd name="T5" fmla="*/ 137 h 137"/>
              <a:gd name="T6" fmla="*/ 239 w 371"/>
              <a:gd name="T7" fmla="*/ 125 h 137"/>
              <a:gd name="T8" fmla="*/ 313 w 371"/>
              <a:gd name="T9" fmla="*/ 76 h 137"/>
              <a:gd name="T10" fmla="*/ 371 w 371"/>
              <a:gd name="T11" fmla="*/ 8 h 137"/>
              <a:gd name="T12" fmla="*/ 362 w 371"/>
              <a:gd name="T13" fmla="*/ 0 h 137"/>
              <a:gd name="T14" fmla="*/ 284 w 371"/>
              <a:gd name="T15" fmla="*/ 86 h 137"/>
              <a:gd name="T16" fmla="*/ 234 w 371"/>
              <a:gd name="T17" fmla="*/ 114 h 137"/>
              <a:gd name="T18" fmla="*/ 171 w 371"/>
              <a:gd name="T19" fmla="*/ 125 h 137"/>
              <a:gd name="T20" fmla="*/ 77 w 371"/>
              <a:gd name="T21" fmla="*/ 99 h 137"/>
              <a:gd name="T22" fmla="*/ 10 w 371"/>
              <a:gd name="T23" fmla="*/ 37 h 137"/>
              <a:gd name="T24" fmla="*/ 0 w 371"/>
              <a:gd name="T25" fmla="*/ 45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71" h="137">
                <a:moveTo>
                  <a:pt x="0" y="45"/>
                </a:moveTo>
                <a:cubicBezTo>
                  <a:pt x="21" y="69"/>
                  <a:pt x="43" y="92"/>
                  <a:pt x="70" y="109"/>
                </a:cubicBezTo>
                <a:cubicBezTo>
                  <a:pt x="97" y="126"/>
                  <a:pt x="130" y="137"/>
                  <a:pt x="171" y="137"/>
                </a:cubicBezTo>
                <a:cubicBezTo>
                  <a:pt x="196" y="137"/>
                  <a:pt x="219" y="133"/>
                  <a:pt x="239" y="125"/>
                </a:cubicBezTo>
                <a:cubicBezTo>
                  <a:pt x="268" y="114"/>
                  <a:pt x="292" y="96"/>
                  <a:pt x="313" y="76"/>
                </a:cubicBezTo>
                <a:cubicBezTo>
                  <a:pt x="334" y="55"/>
                  <a:pt x="353" y="31"/>
                  <a:pt x="371" y="8"/>
                </a:cubicBezTo>
                <a:cubicBezTo>
                  <a:pt x="362" y="0"/>
                  <a:pt x="362" y="0"/>
                  <a:pt x="362" y="0"/>
                </a:cubicBezTo>
                <a:cubicBezTo>
                  <a:pt x="337" y="31"/>
                  <a:pt x="313" y="63"/>
                  <a:pt x="284" y="86"/>
                </a:cubicBezTo>
                <a:cubicBezTo>
                  <a:pt x="269" y="98"/>
                  <a:pt x="253" y="107"/>
                  <a:pt x="234" y="114"/>
                </a:cubicBezTo>
                <a:cubicBezTo>
                  <a:pt x="216" y="121"/>
                  <a:pt x="195" y="125"/>
                  <a:pt x="171" y="125"/>
                </a:cubicBezTo>
                <a:cubicBezTo>
                  <a:pt x="132" y="125"/>
                  <a:pt x="102" y="115"/>
                  <a:pt x="77" y="99"/>
                </a:cubicBezTo>
                <a:cubicBezTo>
                  <a:pt x="51" y="83"/>
                  <a:pt x="30" y="61"/>
                  <a:pt x="10" y="37"/>
                </a:cubicBezTo>
                <a:cubicBezTo>
                  <a:pt x="0" y="45"/>
                  <a:pt x="0" y="45"/>
                  <a:pt x="0" y="4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7445473-F939-43AB-A13D-C3422A234D02}"/>
              </a:ext>
            </a:extLst>
          </p:cNvPr>
          <p:cNvSpPr/>
          <p:nvPr/>
        </p:nvSpPr>
        <p:spPr bwMode="auto">
          <a:xfrm>
            <a:off x="6800048" y="3187864"/>
            <a:ext cx="1436773" cy="530884"/>
          </a:xfrm>
          <a:custGeom>
            <a:avLst/>
            <a:gdLst>
              <a:gd name="T0" fmla="*/ 9 w 389"/>
              <a:gd name="T1" fmla="*/ 115 h 143"/>
              <a:gd name="T2" fmla="*/ 81 w 389"/>
              <a:gd name="T3" fmla="*/ 43 h 143"/>
              <a:gd name="T4" fmla="*/ 183 w 389"/>
              <a:gd name="T5" fmla="*/ 12 h 143"/>
              <a:gd name="T6" fmla="*/ 248 w 389"/>
              <a:gd name="T7" fmla="*/ 24 h 143"/>
              <a:gd name="T8" fmla="*/ 320 w 389"/>
              <a:gd name="T9" fmla="*/ 74 h 143"/>
              <a:gd name="T10" fmla="*/ 379 w 389"/>
              <a:gd name="T11" fmla="*/ 143 h 143"/>
              <a:gd name="T12" fmla="*/ 389 w 389"/>
              <a:gd name="T13" fmla="*/ 136 h 143"/>
              <a:gd name="T14" fmla="*/ 306 w 389"/>
              <a:gd name="T15" fmla="*/ 44 h 143"/>
              <a:gd name="T16" fmla="*/ 253 w 389"/>
              <a:gd name="T17" fmla="*/ 12 h 143"/>
              <a:gd name="T18" fmla="*/ 183 w 389"/>
              <a:gd name="T19" fmla="*/ 0 h 143"/>
              <a:gd name="T20" fmla="*/ 74 w 389"/>
              <a:gd name="T21" fmla="*/ 33 h 143"/>
              <a:gd name="T22" fmla="*/ 0 w 389"/>
              <a:gd name="T23" fmla="*/ 107 h 143"/>
              <a:gd name="T24" fmla="*/ 9 w 389"/>
              <a:gd name="T25" fmla="*/ 115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89" h="143">
                <a:moveTo>
                  <a:pt x="9" y="115"/>
                </a:moveTo>
                <a:cubicBezTo>
                  <a:pt x="31" y="88"/>
                  <a:pt x="54" y="62"/>
                  <a:pt x="81" y="43"/>
                </a:cubicBezTo>
                <a:cubicBezTo>
                  <a:pt x="108" y="24"/>
                  <a:pt x="140" y="12"/>
                  <a:pt x="183" y="12"/>
                </a:cubicBezTo>
                <a:cubicBezTo>
                  <a:pt x="208" y="12"/>
                  <a:pt x="229" y="16"/>
                  <a:pt x="248" y="24"/>
                </a:cubicBezTo>
                <a:cubicBezTo>
                  <a:pt x="277" y="35"/>
                  <a:pt x="300" y="52"/>
                  <a:pt x="320" y="74"/>
                </a:cubicBezTo>
                <a:cubicBezTo>
                  <a:pt x="341" y="95"/>
                  <a:pt x="360" y="119"/>
                  <a:pt x="379" y="143"/>
                </a:cubicBezTo>
                <a:cubicBezTo>
                  <a:pt x="389" y="136"/>
                  <a:pt x="389" y="136"/>
                  <a:pt x="389" y="136"/>
                </a:cubicBezTo>
                <a:cubicBezTo>
                  <a:pt x="363" y="104"/>
                  <a:pt x="338" y="71"/>
                  <a:pt x="306" y="44"/>
                </a:cubicBezTo>
                <a:cubicBezTo>
                  <a:pt x="291" y="31"/>
                  <a:pt x="273" y="20"/>
                  <a:pt x="253" y="12"/>
                </a:cubicBezTo>
                <a:cubicBezTo>
                  <a:pt x="232" y="5"/>
                  <a:pt x="209" y="0"/>
                  <a:pt x="183" y="0"/>
                </a:cubicBezTo>
                <a:cubicBezTo>
                  <a:pt x="138" y="0"/>
                  <a:pt x="103" y="13"/>
                  <a:pt x="74" y="33"/>
                </a:cubicBezTo>
                <a:cubicBezTo>
                  <a:pt x="45" y="53"/>
                  <a:pt x="22" y="80"/>
                  <a:pt x="0" y="107"/>
                </a:cubicBezTo>
                <a:cubicBezTo>
                  <a:pt x="9" y="115"/>
                  <a:pt x="9" y="115"/>
                  <a:pt x="9" y="11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2ADDA5FD-623D-44A6-92B4-3EFECBF98EB4}"/>
              </a:ext>
            </a:extLst>
          </p:cNvPr>
          <p:cNvSpPr/>
          <p:nvPr/>
        </p:nvSpPr>
        <p:spPr bwMode="auto">
          <a:xfrm>
            <a:off x="6976256" y="3452176"/>
            <a:ext cx="1068542" cy="107080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B811FA07-1A61-4207-A701-DD1174FF5D41}"/>
              </a:ext>
            </a:extLst>
          </p:cNvPr>
          <p:cNvSpPr/>
          <p:nvPr/>
        </p:nvSpPr>
        <p:spPr bwMode="auto">
          <a:xfrm>
            <a:off x="1963366" y="3179384"/>
            <a:ext cx="2191304" cy="905891"/>
          </a:xfrm>
          <a:custGeom>
            <a:avLst/>
            <a:gdLst>
              <a:gd name="T0" fmla="*/ 0 w 593"/>
              <a:gd name="T1" fmla="*/ 12 h 244"/>
              <a:gd name="T2" fmla="*/ 107 w 593"/>
              <a:gd name="T3" fmla="*/ 47 h 244"/>
              <a:gd name="T4" fmla="*/ 165 w 593"/>
              <a:gd name="T5" fmla="*/ 104 h 244"/>
              <a:gd name="T6" fmla="*/ 248 w 593"/>
              <a:gd name="T7" fmla="*/ 198 h 244"/>
              <a:gd name="T8" fmla="*/ 303 w 593"/>
              <a:gd name="T9" fmla="*/ 231 h 244"/>
              <a:gd name="T10" fmla="*/ 373 w 593"/>
              <a:gd name="T11" fmla="*/ 244 h 244"/>
              <a:gd name="T12" fmla="*/ 449 w 593"/>
              <a:gd name="T13" fmla="*/ 229 h 244"/>
              <a:gd name="T14" fmla="*/ 529 w 593"/>
              <a:gd name="T15" fmla="*/ 168 h 244"/>
              <a:gd name="T16" fmla="*/ 593 w 593"/>
              <a:gd name="T17" fmla="*/ 91 h 244"/>
              <a:gd name="T18" fmla="*/ 584 w 593"/>
              <a:gd name="T19" fmla="*/ 83 h 244"/>
              <a:gd name="T20" fmla="*/ 497 w 593"/>
              <a:gd name="T21" fmla="*/ 183 h 244"/>
              <a:gd name="T22" fmla="*/ 444 w 593"/>
              <a:gd name="T23" fmla="*/ 218 h 244"/>
              <a:gd name="T24" fmla="*/ 373 w 593"/>
              <a:gd name="T25" fmla="*/ 232 h 244"/>
              <a:gd name="T26" fmla="*/ 266 w 593"/>
              <a:gd name="T27" fmla="*/ 197 h 244"/>
              <a:gd name="T28" fmla="*/ 209 w 593"/>
              <a:gd name="T29" fmla="*/ 140 h 244"/>
              <a:gd name="T30" fmla="*/ 126 w 593"/>
              <a:gd name="T31" fmla="*/ 46 h 244"/>
              <a:gd name="T32" fmla="*/ 71 w 593"/>
              <a:gd name="T33" fmla="*/ 13 h 244"/>
              <a:gd name="T34" fmla="*/ 0 w 593"/>
              <a:gd name="T35" fmla="*/ 0 h 244"/>
              <a:gd name="T36" fmla="*/ 0 w 593"/>
              <a:gd name="T37" fmla="*/ 12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93" h="244">
                <a:moveTo>
                  <a:pt x="0" y="12"/>
                </a:moveTo>
                <a:cubicBezTo>
                  <a:pt x="46" y="12"/>
                  <a:pt x="79" y="26"/>
                  <a:pt x="107" y="47"/>
                </a:cubicBezTo>
                <a:cubicBezTo>
                  <a:pt x="129" y="63"/>
                  <a:pt x="147" y="83"/>
                  <a:pt x="165" y="104"/>
                </a:cubicBezTo>
                <a:cubicBezTo>
                  <a:pt x="191" y="136"/>
                  <a:pt x="216" y="171"/>
                  <a:pt x="248" y="198"/>
                </a:cubicBezTo>
                <a:cubicBezTo>
                  <a:pt x="264" y="211"/>
                  <a:pt x="282" y="223"/>
                  <a:pt x="303" y="231"/>
                </a:cubicBezTo>
                <a:cubicBezTo>
                  <a:pt x="323" y="239"/>
                  <a:pt x="347" y="244"/>
                  <a:pt x="373" y="244"/>
                </a:cubicBezTo>
                <a:cubicBezTo>
                  <a:pt x="402" y="244"/>
                  <a:pt x="427" y="239"/>
                  <a:pt x="449" y="229"/>
                </a:cubicBezTo>
                <a:cubicBezTo>
                  <a:pt x="481" y="216"/>
                  <a:pt x="506" y="193"/>
                  <a:pt x="529" y="168"/>
                </a:cubicBezTo>
                <a:cubicBezTo>
                  <a:pt x="552" y="143"/>
                  <a:pt x="572" y="116"/>
                  <a:pt x="593" y="91"/>
                </a:cubicBezTo>
                <a:cubicBezTo>
                  <a:pt x="584" y="83"/>
                  <a:pt x="584" y="83"/>
                  <a:pt x="584" y="83"/>
                </a:cubicBezTo>
                <a:cubicBezTo>
                  <a:pt x="555" y="117"/>
                  <a:pt x="529" y="155"/>
                  <a:pt x="497" y="183"/>
                </a:cubicBezTo>
                <a:cubicBezTo>
                  <a:pt x="481" y="198"/>
                  <a:pt x="464" y="210"/>
                  <a:pt x="444" y="218"/>
                </a:cubicBezTo>
                <a:cubicBezTo>
                  <a:pt x="424" y="227"/>
                  <a:pt x="401" y="232"/>
                  <a:pt x="373" y="232"/>
                </a:cubicBezTo>
                <a:cubicBezTo>
                  <a:pt x="328" y="232"/>
                  <a:pt x="295" y="218"/>
                  <a:pt x="266" y="197"/>
                </a:cubicBezTo>
                <a:cubicBezTo>
                  <a:pt x="245" y="181"/>
                  <a:pt x="227" y="161"/>
                  <a:pt x="209" y="140"/>
                </a:cubicBezTo>
                <a:cubicBezTo>
                  <a:pt x="183" y="108"/>
                  <a:pt x="158" y="73"/>
                  <a:pt x="126" y="46"/>
                </a:cubicBezTo>
                <a:cubicBezTo>
                  <a:pt x="110" y="33"/>
                  <a:pt x="92" y="21"/>
                  <a:pt x="71" y="13"/>
                </a:cubicBezTo>
                <a:cubicBezTo>
                  <a:pt x="51" y="5"/>
                  <a:pt x="27" y="0"/>
                  <a:pt x="0" y="0"/>
                </a:cubicBezTo>
                <a:cubicBezTo>
                  <a:pt x="0" y="12"/>
                  <a:pt x="0" y="12"/>
                  <a:pt x="0" y="12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E5329680-AD69-4F1E-AEE6-D04C1284E60E}"/>
              </a:ext>
            </a:extLst>
          </p:cNvPr>
          <p:cNvSpPr/>
          <p:nvPr/>
        </p:nvSpPr>
        <p:spPr bwMode="auto">
          <a:xfrm>
            <a:off x="8193207" y="3187864"/>
            <a:ext cx="2035427" cy="905891"/>
          </a:xfrm>
          <a:custGeom>
            <a:avLst/>
            <a:gdLst>
              <a:gd name="T0" fmla="*/ 0 w 551"/>
              <a:gd name="T1" fmla="*/ 143 h 244"/>
              <a:gd name="T2" fmla="*/ 72 w 551"/>
              <a:gd name="T3" fmla="*/ 213 h 244"/>
              <a:gd name="T4" fmla="*/ 177 w 551"/>
              <a:gd name="T5" fmla="*/ 244 h 244"/>
              <a:gd name="T6" fmla="*/ 292 w 551"/>
              <a:gd name="T7" fmla="*/ 207 h 244"/>
              <a:gd name="T8" fmla="*/ 351 w 551"/>
              <a:gd name="T9" fmla="*/ 147 h 244"/>
              <a:gd name="T10" fmla="*/ 433 w 551"/>
              <a:gd name="T11" fmla="*/ 55 h 244"/>
              <a:gd name="T12" fmla="*/ 484 w 551"/>
              <a:gd name="T13" fmla="*/ 24 h 244"/>
              <a:gd name="T14" fmla="*/ 551 w 551"/>
              <a:gd name="T15" fmla="*/ 12 h 244"/>
              <a:gd name="T16" fmla="*/ 551 w 551"/>
              <a:gd name="T17" fmla="*/ 0 h 244"/>
              <a:gd name="T18" fmla="*/ 436 w 551"/>
              <a:gd name="T19" fmla="*/ 37 h 244"/>
              <a:gd name="T20" fmla="*/ 377 w 551"/>
              <a:gd name="T21" fmla="*/ 97 h 244"/>
              <a:gd name="T22" fmla="*/ 295 w 551"/>
              <a:gd name="T23" fmla="*/ 189 h 244"/>
              <a:gd name="T24" fmla="*/ 244 w 551"/>
              <a:gd name="T25" fmla="*/ 220 h 244"/>
              <a:gd name="T26" fmla="*/ 177 w 551"/>
              <a:gd name="T27" fmla="*/ 232 h 244"/>
              <a:gd name="T28" fmla="*/ 79 w 551"/>
              <a:gd name="T29" fmla="*/ 203 h 244"/>
              <a:gd name="T30" fmla="*/ 10 w 551"/>
              <a:gd name="T31" fmla="*/ 136 h 244"/>
              <a:gd name="T32" fmla="*/ 0 w 551"/>
              <a:gd name="T33" fmla="*/ 143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51" h="244">
                <a:moveTo>
                  <a:pt x="0" y="143"/>
                </a:moveTo>
                <a:cubicBezTo>
                  <a:pt x="22" y="169"/>
                  <a:pt x="44" y="194"/>
                  <a:pt x="72" y="213"/>
                </a:cubicBezTo>
                <a:cubicBezTo>
                  <a:pt x="100" y="232"/>
                  <a:pt x="134" y="244"/>
                  <a:pt x="177" y="244"/>
                </a:cubicBezTo>
                <a:cubicBezTo>
                  <a:pt x="225" y="244"/>
                  <a:pt x="262" y="229"/>
                  <a:pt x="292" y="207"/>
                </a:cubicBezTo>
                <a:cubicBezTo>
                  <a:pt x="314" y="190"/>
                  <a:pt x="333" y="169"/>
                  <a:pt x="351" y="147"/>
                </a:cubicBezTo>
                <a:cubicBezTo>
                  <a:pt x="378" y="115"/>
                  <a:pt x="403" y="81"/>
                  <a:pt x="433" y="55"/>
                </a:cubicBezTo>
                <a:cubicBezTo>
                  <a:pt x="448" y="42"/>
                  <a:pt x="465" y="32"/>
                  <a:pt x="484" y="24"/>
                </a:cubicBezTo>
                <a:cubicBezTo>
                  <a:pt x="503" y="16"/>
                  <a:pt x="525" y="12"/>
                  <a:pt x="551" y="12"/>
                </a:cubicBezTo>
                <a:cubicBezTo>
                  <a:pt x="551" y="0"/>
                  <a:pt x="551" y="0"/>
                  <a:pt x="551" y="0"/>
                </a:cubicBezTo>
                <a:cubicBezTo>
                  <a:pt x="503" y="0"/>
                  <a:pt x="466" y="15"/>
                  <a:pt x="436" y="37"/>
                </a:cubicBezTo>
                <a:cubicBezTo>
                  <a:pt x="414" y="54"/>
                  <a:pt x="395" y="75"/>
                  <a:pt x="377" y="97"/>
                </a:cubicBezTo>
                <a:cubicBezTo>
                  <a:pt x="350" y="129"/>
                  <a:pt x="326" y="163"/>
                  <a:pt x="295" y="189"/>
                </a:cubicBezTo>
                <a:cubicBezTo>
                  <a:pt x="280" y="202"/>
                  <a:pt x="263" y="212"/>
                  <a:pt x="244" y="220"/>
                </a:cubicBezTo>
                <a:cubicBezTo>
                  <a:pt x="225" y="228"/>
                  <a:pt x="203" y="232"/>
                  <a:pt x="177" y="232"/>
                </a:cubicBezTo>
                <a:cubicBezTo>
                  <a:pt x="137" y="232"/>
                  <a:pt x="105" y="221"/>
                  <a:pt x="79" y="203"/>
                </a:cubicBezTo>
                <a:cubicBezTo>
                  <a:pt x="52" y="185"/>
                  <a:pt x="31" y="161"/>
                  <a:pt x="10" y="136"/>
                </a:cubicBezTo>
                <a:cubicBezTo>
                  <a:pt x="0" y="143"/>
                  <a:pt x="0" y="143"/>
                  <a:pt x="0" y="14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B3D201C3-7CAA-4D9E-83C9-5416C26CFD98}"/>
              </a:ext>
            </a:extLst>
          </p:cNvPr>
          <p:cNvSpPr/>
          <p:nvPr/>
        </p:nvSpPr>
        <p:spPr bwMode="auto">
          <a:xfrm>
            <a:off x="8324925" y="2828672"/>
            <a:ext cx="1064024" cy="1070803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5" name="任意多边形: 形状 14"/>
          <p:cNvSpPr/>
          <p:nvPr/>
        </p:nvSpPr>
        <p:spPr bwMode="auto">
          <a:xfrm>
            <a:off x="8651864" y="3160168"/>
            <a:ext cx="410146" cy="407810"/>
          </a:xfrm>
          <a:custGeom>
            <a:avLst/>
            <a:gdLst>
              <a:gd name="T0" fmla="*/ 3682 w 4808"/>
              <a:gd name="T1" fmla="*/ 2763 h 4789"/>
              <a:gd name="T2" fmla="*/ 3420 w 4808"/>
              <a:gd name="T3" fmla="*/ 2703 h 4789"/>
              <a:gd name="T4" fmla="*/ 3026 w 4808"/>
              <a:gd name="T5" fmla="*/ 2392 h 4789"/>
              <a:gd name="T6" fmla="*/ 2818 w 4808"/>
              <a:gd name="T7" fmla="*/ 2517 h 4789"/>
              <a:gd name="T8" fmla="*/ 3219 w 4808"/>
              <a:gd name="T9" fmla="*/ 1876 h 4789"/>
              <a:gd name="T10" fmla="*/ 3609 w 4808"/>
              <a:gd name="T11" fmla="*/ 1953 h 4789"/>
              <a:gd name="T12" fmla="*/ 4553 w 4808"/>
              <a:gd name="T13" fmla="*/ 720 h 4789"/>
              <a:gd name="T14" fmla="*/ 4388 w 4808"/>
              <a:gd name="T15" fmla="*/ 680 h 4789"/>
              <a:gd name="T16" fmla="*/ 3872 w 4808"/>
              <a:gd name="T17" fmla="*/ 1161 h 4789"/>
              <a:gd name="T18" fmla="*/ 3859 w 4808"/>
              <a:gd name="T19" fmla="*/ 1160 h 4789"/>
              <a:gd name="T20" fmla="*/ 3491 w 4808"/>
              <a:gd name="T21" fmla="*/ 1099 h 4789"/>
              <a:gd name="T22" fmla="*/ 3432 w 4808"/>
              <a:gd name="T23" fmla="*/ 731 h 4789"/>
              <a:gd name="T24" fmla="*/ 3454 w 4808"/>
              <a:gd name="T25" fmla="*/ 658 h 4789"/>
              <a:gd name="T26" fmla="*/ 3938 w 4808"/>
              <a:gd name="T27" fmla="*/ 104 h 4789"/>
              <a:gd name="T28" fmla="*/ 3609 w 4808"/>
              <a:gd name="T29" fmla="*/ 0 h 4789"/>
              <a:gd name="T30" fmla="*/ 2710 w 4808"/>
              <a:gd name="T31" fmla="*/ 1369 h 4789"/>
              <a:gd name="T32" fmla="*/ 1300 w 4808"/>
              <a:gd name="T33" fmla="*/ 999 h 4789"/>
              <a:gd name="T34" fmla="*/ 1309 w 4808"/>
              <a:gd name="T35" fmla="*/ 892 h 4789"/>
              <a:gd name="T36" fmla="*/ 865 w 4808"/>
              <a:gd name="T37" fmla="*/ 294 h 4789"/>
              <a:gd name="T38" fmla="*/ 665 w 4808"/>
              <a:gd name="T39" fmla="*/ 298 h 4789"/>
              <a:gd name="T40" fmla="*/ 278 w 4808"/>
              <a:gd name="T41" fmla="*/ 787 h 4789"/>
              <a:gd name="T42" fmla="*/ 630 w 4808"/>
              <a:gd name="T43" fmla="*/ 1163 h 4789"/>
              <a:gd name="T44" fmla="*/ 926 w 4808"/>
              <a:gd name="T45" fmla="*/ 1291 h 4789"/>
              <a:gd name="T46" fmla="*/ 1018 w 4808"/>
              <a:gd name="T47" fmla="*/ 1282 h 4789"/>
              <a:gd name="T48" fmla="*/ 1485 w 4808"/>
              <a:gd name="T49" fmla="*/ 2594 h 4789"/>
              <a:gd name="T50" fmla="*/ 1037 w 4808"/>
              <a:gd name="T51" fmla="*/ 2572 h 4789"/>
              <a:gd name="T52" fmla="*/ 92 w 4808"/>
              <a:gd name="T53" fmla="*/ 3809 h 4789"/>
              <a:gd name="T54" fmla="*/ 186 w 4808"/>
              <a:gd name="T55" fmla="*/ 3882 h 4789"/>
              <a:gd name="T56" fmla="*/ 727 w 4808"/>
              <a:gd name="T57" fmla="*/ 3384 h 4789"/>
              <a:gd name="T58" fmla="*/ 789 w 4808"/>
              <a:gd name="T59" fmla="*/ 3371 h 4789"/>
              <a:gd name="T60" fmla="*/ 796 w 4808"/>
              <a:gd name="T61" fmla="*/ 3372 h 4789"/>
              <a:gd name="T62" fmla="*/ 1218 w 4808"/>
              <a:gd name="T63" fmla="*/ 3798 h 4789"/>
              <a:gd name="T64" fmla="*/ 1192 w 4808"/>
              <a:gd name="T65" fmla="*/ 3873 h 4789"/>
              <a:gd name="T66" fmla="*/ 707 w 4808"/>
              <a:gd name="T67" fmla="*/ 4427 h 4789"/>
              <a:gd name="T68" fmla="*/ 1037 w 4808"/>
              <a:gd name="T69" fmla="*/ 4531 h 4789"/>
              <a:gd name="T70" fmla="*/ 2016 w 4808"/>
              <a:gd name="T71" fmla="*/ 3551 h 4789"/>
              <a:gd name="T72" fmla="*/ 1994 w 4808"/>
              <a:gd name="T73" fmla="*/ 3103 h 4789"/>
              <a:gd name="T74" fmla="*/ 2535 w 4808"/>
              <a:gd name="T75" fmla="*/ 2799 h 4789"/>
              <a:gd name="T76" fmla="*/ 2410 w 4808"/>
              <a:gd name="T77" fmla="*/ 3007 h 4789"/>
              <a:gd name="T78" fmla="*/ 2721 w 4808"/>
              <a:gd name="T79" fmla="*/ 3401 h 4789"/>
              <a:gd name="T80" fmla="*/ 2781 w 4808"/>
              <a:gd name="T81" fmla="*/ 3663 h 4789"/>
              <a:gd name="T82" fmla="*/ 4013 w 4808"/>
              <a:gd name="T83" fmla="*/ 4789 h 4789"/>
              <a:gd name="T84" fmla="*/ 4734 w 4808"/>
              <a:gd name="T85" fmla="*/ 4173 h 4789"/>
              <a:gd name="T86" fmla="*/ 4734 w 4808"/>
              <a:gd name="T87" fmla="*/ 3815 h 4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08" h="4789">
                <a:moveTo>
                  <a:pt x="4734" y="3815"/>
                </a:moveTo>
                <a:lnTo>
                  <a:pt x="3682" y="2763"/>
                </a:lnTo>
                <a:cubicBezTo>
                  <a:pt x="3634" y="2715"/>
                  <a:pt x="3570" y="2689"/>
                  <a:pt x="3502" y="2689"/>
                </a:cubicBezTo>
                <a:cubicBezTo>
                  <a:pt x="3474" y="2689"/>
                  <a:pt x="3446" y="2694"/>
                  <a:pt x="3420" y="2703"/>
                </a:cubicBezTo>
                <a:lnTo>
                  <a:pt x="3167" y="2450"/>
                </a:lnTo>
                <a:cubicBezTo>
                  <a:pt x="3130" y="2413"/>
                  <a:pt x="3079" y="2392"/>
                  <a:pt x="3026" y="2392"/>
                </a:cubicBezTo>
                <a:cubicBezTo>
                  <a:pt x="2972" y="2392"/>
                  <a:pt x="2922" y="2413"/>
                  <a:pt x="2884" y="2450"/>
                </a:cubicBezTo>
                <a:lnTo>
                  <a:pt x="2818" y="2517"/>
                </a:lnTo>
                <a:lnTo>
                  <a:pt x="2699" y="2398"/>
                </a:lnTo>
                <a:lnTo>
                  <a:pt x="3219" y="1876"/>
                </a:lnTo>
                <a:cubicBezTo>
                  <a:pt x="3340" y="1928"/>
                  <a:pt x="3472" y="1953"/>
                  <a:pt x="3609" y="1953"/>
                </a:cubicBezTo>
                <a:lnTo>
                  <a:pt x="3609" y="1953"/>
                </a:lnTo>
                <a:cubicBezTo>
                  <a:pt x="3870" y="1953"/>
                  <a:pt x="4116" y="1854"/>
                  <a:pt x="4301" y="1669"/>
                </a:cubicBezTo>
                <a:cubicBezTo>
                  <a:pt x="4549" y="1421"/>
                  <a:pt x="4646" y="1059"/>
                  <a:pt x="4553" y="720"/>
                </a:cubicBezTo>
                <a:cubicBezTo>
                  <a:pt x="4542" y="678"/>
                  <a:pt x="4502" y="648"/>
                  <a:pt x="4459" y="648"/>
                </a:cubicBezTo>
                <a:cubicBezTo>
                  <a:pt x="4441" y="648"/>
                  <a:pt x="4413" y="654"/>
                  <a:pt x="4388" y="680"/>
                </a:cubicBezTo>
                <a:cubicBezTo>
                  <a:pt x="4384" y="683"/>
                  <a:pt x="4034" y="1030"/>
                  <a:pt x="3918" y="1146"/>
                </a:cubicBezTo>
                <a:cubicBezTo>
                  <a:pt x="3906" y="1159"/>
                  <a:pt x="3885" y="1161"/>
                  <a:pt x="3872" y="1161"/>
                </a:cubicBezTo>
                <a:cubicBezTo>
                  <a:pt x="3864" y="1161"/>
                  <a:pt x="3859" y="1160"/>
                  <a:pt x="3859" y="1160"/>
                </a:cubicBezTo>
                <a:lnTo>
                  <a:pt x="3859" y="1160"/>
                </a:lnTo>
                <a:lnTo>
                  <a:pt x="3851" y="1159"/>
                </a:lnTo>
                <a:cubicBezTo>
                  <a:pt x="3707" y="1146"/>
                  <a:pt x="3535" y="1119"/>
                  <a:pt x="3491" y="1099"/>
                </a:cubicBezTo>
                <a:cubicBezTo>
                  <a:pt x="3470" y="1055"/>
                  <a:pt x="3445" y="879"/>
                  <a:pt x="3432" y="733"/>
                </a:cubicBezTo>
                <a:lnTo>
                  <a:pt x="3432" y="731"/>
                </a:lnTo>
                <a:lnTo>
                  <a:pt x="3429" y="727"/>
                </a:lnTo>
                <a:cubicBezTo>
                  <a:pt x="3428" y="720"/>
                  <a:pt x="3425" y="687"/>
                  <a:pt x="3454" y="658"/>
                </a:cubicBezTo>
                <a:cubicBezTo>
                  <a:pt x="3574" y="538"/>
                  <a:pt x="3905" y="204"/>
                  <a:pt x="3908" y="201"/>
                </a:cubicBezTo>
                <a:cubicBezTo>
                  <a:pt x="3936" y="173"/>
                  <a:pt x="3947" y="138"/>
                  <a:pt x="3938" y="104"/>
                </a:cubicBezTo>
                <a:cubicBezTo>
                  <a:pt x="3927" y="64"/>
                  <a:pt x="3893" y="42"/>
                  <a:pt x="3865" y="34"/>
                </a:cubicBezTo>
                <a:cubicBezTo>
                  <a:pt x="3782" y="11"/>
                  <a:pt x="3695" y="0"/>
                  <a:pt x="3609" y="0"/>
                </a:cubicBezTo>
                <a:cubicBezTo>
                  <a:pt x="3347" y="0"/>
                  <a:pt x="3101" y="102"/>
                  <a:pt x="2916" y="287"/>
                </a:cubicBezTo>
                <a:cubicBezTo>
                  <a:pt x="2624" y="579"/>
                  <a:pt x="2555" y="1011"/>
                  <a:pt x="2710" y="1369"/>
                </a:cubicBezTo>
                <a:lnTo>
                  <a:pt x="2190" y="1889"/>
                </a:lnTo>
                <a:lnTo>
                  <a:pt x="1300" y="999"/>
                </a:lnTo>
                <a:cubicBezTo>
                  <a:pt x="1300" y="998"/>
                  <a:pt x="1299" y="998"/>
                  <a:pt x="1299" y="997"/>
                </a:cubicBezTo>
                <a:cubicBezTo>
                  <a:pt x="1307" y="963"/>
                  <a:pt x="1311" y="928"/>
                  <a:pt x="1309" y="892"/>
                </a:cubicBezTo>
                <a:cubicBezTo>
                  <a:pt x="1305" y="788"/>
                  <a:pt x="1260" y="689"/>
                  <a:pt x="1182" y="611"/>
                </a:cubicBezTo>
                <a:lnTo>
                  <a:pt x="865" y="294"/>
                </a:lnTo>
                <a:cubicBezTo>
                  <a:pt x="858" y="288"/>
                  <a:pt x="821" y="253"/>
                  <a:pt x="766" y="253"/>
                </a:cubicBezTo>
                <a:cubicBezTo>
                  <a:pt x="740" y="253"/>
                  <a:pt x="702" y="261"/>
                  <a:pt x="665" y="298"/>
                </a:cubicBezTo>
                <a:lnTo>
                  <a:pt x="318" y="645"/>
                </a:lnTo>
                <a:cubicBezTo>
                  <a:pt x="277" y="685"/>
                  <a:pt x="263" y="737"/>
                  <a:pt x="278" y="787"/>
                </a:cubicBezTo>
                <a:cubicBezTo>
                  <a:pt x="288" y="820"/>
                  <a:pt x="308" y="842"/>
                  <a:pt x="314" y="848"/>
                </a:cubicBezTo>
                <a:lnTo>
                  <a:pt x="630" y="1163"/>
                </a:lnTo>
                <a:cubicBezTo>
                  <a:pt x="712" y="1246"/>
                  <a:pt x="817" y="1291"/>
                  <a:pt x="926" y="1291"/>
                </a:cubicBezTo>
                <a:lnTo>
                  <a:pt x="926" y="1291"/>
                </a:lnTo>
                <a:cubicBezTo>
                  <a:pt x="957" y="1291"/>
                  <a:pt x="987" y="1287"/>
                  <a:pt x="1016" y="1280"/>
                </a:cubicBezTo>
                <a:cubicBezTo>
                  <a:pt x="1017" y="1281"/>
                  <a:pt x="1017" y="1281"/>
                  <a:pt x="1018" y="1282"/>
                </a:cubicBezTo>
                <a:lnTo>
                  <a:pt x="1907" y="2171"/>
                </a:lnTo>
                <a:lnTo>
                  <a:pt x="1485" y="2594"/>
                </a:lnTo>
                <a:cubicBezTo>
                  <a:pt x="1466" y="2613"/>
                  <a:pt x="1449" y="2634"/>
                  <a:pt x="1435" y="2656"/>
                </a:cubicBezTo>
                <a:cubicBezTo>
                  <a:pt x="1311" y="2601"/>
                  <a:pt x="1176" y="2572"/>
                  <a:pt x="1037" y="2572"/>
                </a:cubicBezTo>
                <a:cubicBezTo>
                  <a:pt x="775" y="2572"/>
                  <a:pt x="529" y="2674"/>
                  <a:pt x="344" y="2859"/>
                </a:cubicBezTo>
                <a:cubicBezTo>
                  <a:pt x="96" y="3106"/>
                  <a:pt x="0" y="3471"/>
                  <a:pt x="92" y="3809"/>
                </a:cubicBezTo>
                <a:cubicBezTo>
                  <a:pt x="103" y="3852"/>
                  <a:pt x="143" y="3882"/>
                  <a:pt x="186" y="3882"/>
                </a:cubicBezTo>
                <a:lnTo>
                  <a:pt x="186" y="3882"/>
                </a:lnTo>
                <a:cubicBezTo>
                  <a:pt x="204" y="3882"/>
                  <a:pt x="232" y="3877"/>
                  <a:pt x="258" y="3851"/>
                </a:cubicBezTo>
                <a:cubicBezTo>
                  <a:pt x="261" y="3847"/>
                  <a:pt x="611" y="3500"/>
                  <a:pt x="727" y="3384"/>
                </a:cubicBezTo>
                <a:cubicBezTo>
                  <a:pt x="740" y="3372"/>
                  <a:pt x="762" y="3370"/>
                  <a:pt x="774" y="3370"/>
                </a:cubicBezTo>
                <a:cubicBezTo>
                  <a:pt x="783" y="3370"/>
                  <a:pt x="789" y="3371"/>
                  <a:pt x="789" y="3371"/>
                </a:cubicBezTo>
                <a:lnTo>
                  <a:pt x="789" y="3371"/>
                </a:lnTo>
                <a:lnTo>
                  <a:pt x="796" y="3372"/>
                </a:lnTo>
                <a:cubicBezTo>
                  <a:pt x="940" y="3385"/>
                  <a:pt x="1113" y="3411"/>
                  <a:pt x="1157" y="3431"/>
                </a:cubicBezTo>
                <a:cubicBezTo>
                  <a:pt x="1178" y="3475"/>
                  <a:pt x="1205" y="3652"/>
                  <a:pt x="1218" y="3798"/>
                </a:cubicBezTo>
                <a:lnTo>
                  <a:pt x="1219" y="3805"/>
                </a:lnTo>
                <a:cubicBezTo>
                  <a:pt x="1219" y="3805"/>
                  <a:pt x="1223" y="3842"/>
                  <a:pt x="1192" y="3873"/>
                </a:cubicBezTo>
                <a:cubicBezTo>
                  <a:pt x="1072" y="3993"/>
                  <a:pt x="741" y="4327"/>
                  <a:pt x="738" y="4330"/>
                </a:cubicBezTo>
                <a:cubicBezTo>
                  <a:pt x="710" y="4358"/>
                  <a:pt x="699" y="4393"/>
                  <a:pt x="707" y="4427"/>
                </a:cubicBezTo>
                <a:cubicBezTo>
                  <a:pt x="718" y="4467"/>
                  <a:pt x="752" y="4489"/>
                  <a:pt x="780" y="4497"/>
                </a:cubicBezTo>
                <a:cubicBezTo>
                  <a:pt x="864" y="4519"/>
                  <a:pt x="950" y="4531"/>
                  <a:pt x="1037" y="4531"/>
                </a:cubicBezTo>
                <a:cubicBezTo>
                  <a:pt x="1298" y="4531"/>
                  <a:pt x="1544" y="4429"/>
                  <a:pt x="1729" y="4244"/>
                </a:cubicBezTo>
                <a:cubicBezTo>
                  <a:pt x="1914" y="4059"/>
                  <a:pt x="2016" y="3813"/>
                  <a:pt x="2016" y="3551"/>
                </a:cubicBezTo>
                <a:cubicBezTo>
                  <a:pt x="2016" y="3412"/>
                  <a:pt x="1987" y="3277"/>
                  <a:pt x="1932" y="3153"/>
                </a:cubicBezTo>
                <a:cubicBezTo>
                  <a:pt x="1954" y="3139"/>
                  <a:pt x="1975" y="3122"/>
                  <a:pt x="1994" y="3103"/>
                </a:cubicBezTo>
                <a:lnTo>
                  <a:pt x="2417" y="2681"/>
                </a:lnTo>
                <a:lnTo>
                  <a:pt x="2535" y="2799"/>
                </a:lnTo>
                <a:lnTo>
                  <a:pt x="2469" y="2866"/>
                </a:lnTo>
                <a:cubicBezTo>
                  <a:pt x="2431" y="2904"/>
                  <a:pt x="2410" y="2954"/>
                  <a:pt x="2410" y="3007"/>
                </a:cubicBezTo>
                <a:cubicBezTo>
                  <a:pt x="2410" y="3061"/>
                  <a:pt x="2431" y="3111"/>
                  <a:pt x="2469" y="3149"/>
                </a:cubicBezTo>
                <a:lnTo>
                  <a:pt x="2721" y="3401"/>
                </a:lnTo>
                <a:cubicBezTo>
                  <a:pt x="2712" y="3427"/>
                  <a:pt x="2707" y="3455"/>
                  <a:pt x="2707" y="3484"/>
                </a:cubicBezTo>
                <a:cubicBezTo>
                  <a:pt x="2707" y="3552"/>
                  <a:pt x="2734" y="3615"/>
                  <a:pt x="2781" y="3663"/>
                </a:cubicBezTo>
                <a:lnTo>
                  <a:pt x="3834" y="4715"/>
                </a:lnTo>
                <a:cubicBezTo>
                  <a:pt x="3881" y="4763"/>
                  <a:pt x="3945" y="4789"/>
                  <a:pt x="4013" y="4789"/>
                </a:cubicBezTo>
                <a:cubicBezTo>
                  <a:pt x="4081" y="4789"/>
                  <a:pt x="4144" y="4763"/>
                  <a:pt x="4192" y="4715"/>
                </a:cubicBezTo>
                <a:lnTo>
                  <a:pt x="4734" y="4173"/>
                </a:lnTo>
                <a:cubicBezTo>
                  <a:pt x="4782" y="4126"/>
                  <a:pt x="4808" y="4062"/>
                  <a:pt x="4808" y="3994"/>
                </a:cubicBezTo>
                <a:cubicBezTo>
                  <a:pt x="4808" y="3926"/>
                  <a:pt x="4782" y="3863"/>
                  <a:pt x="4734" y="38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413FFD01-BD08-4628-8C6E-67B801594BB8}"/>
              </a:ext>
            </a:extLst>
          </p:cNvPr>
          <p:cNvSpPr/>
          <p:nvPr/>
        </p:nvSpPr>
        <p:spPr bwMode="auto">
          <a:xfrm>
            <a:off x="2794706" y="2754121"/>
            <a:ext cx="1064024" cy="107306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7" name="任意多边形: 形状 16"/>
          <p:cNvSpPr/>
          <p:nvPr/>
        </p:nvSpPr>
        <p:spPr bwMode="auto">
          <a:xfrm>
            <a:off x="3126388" y="3090626"/>
            <a:ext cx="400660" cy="400052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78649" h="594741">
                <a:moveTo>
                  <a:pt x="411175" y="315251"/>
                </a:moveTo>
                <a:cubicBezTo>
                  <a:pt x="392328" y="315251"/>
                  <a:pt x="373301" y="322420"/>
                  <a:pt x="358940" y="336757"/>
                </a:cubicBezTo>
                <a:cubicBezTo>
                  <a:pt x="330220" y="365432"/>
                  <a:pt x="330220" y="411311"/>
                  <a:pt x="358940" y="439986"/>
                </a:cubicBezTo>
                <a:cubicBezTo>
                  <a:pt x="387661" y="468660"/>
                  <a:pt x="435049" y="468660"/>
                  <a:pt x="462333" y="439986"/>
                </a:cubicBezTo>
                <a:cubicBezTo>
                  <a:pt x="491053" y="411311"/>
                  <a:pt x="491053" y="365432"/>
                  <a:pt x="462333" y="336757"/>
                </a:cubicBezTo>
                <a:cubicBezTo>
                  <a:pt x="448691" y="322420"/>
                  <a:pt x="430023" y="315251"/>
                  <a:pt x="411175" y="315251"/>
                </a:cubicBezTo>
                <a:close/>
                <a:moveTo>
                  <a:pt x="410816" y="276182"/>
                </a:moveTo>
                <a:cubicBezTo>
                  <a:pt x="439716" y="276182"/>
                  <a:pt x="468795" y="287293"/>
                  <a:pt x="491053" y="309516"/>
                </a:cubicBezTo>
                <a:cubicBezTo>
                  <a:pt x="525517" y="342492"/>
                  <a:pt x="532697" y="394106"/>
                  <a:pt x="514029" y="435685"/>
                </a:cubicBezTo>
                <a:lnTo>
                  <a:pt x="578649" y="500203"/>
                </a:lnTo>
                <a:lnTo>
                  <a:pt x="522645" y="556118"/>
                </a:lnTo>
                <a:lnTo>
                  <a:pt x="458025" y="491600"/>
                </a:lnTo>
                <a:cubicBezTo>
                  <a:pt x="416381" y="510239"/>
                  <a:pt x="366121" y="503070"/>
                  <a:pt x="331656" y="468660"/>
                </a:cubicBezTo>
                <a:cubicBezTo>
                  <a:pt x="287140" y="424215"/>
                  <a:pt x="287140" y="352528"/>
                  <a:pt x="331656" y="309516"/>
                </a:cubicBezTo>
                <a:cubicBezTo>
                  <a:pt x="353197" y="287293"/>
                  <a:pt x="381917" y="276182"/>
                  <a:pt x="410816" y="276182"/>
                </a:cubicBezTo>
                <a:close/>
                <a:moveTo>
                  <a:pt x="134949" y="20001"/>
                </a:moveTo>
                <a:lnTo>
                  <a:pt x="134949" y="144835"/>
                </a:lnTo>
                <a:lnTo>
                  <a:pt x="17242" y="144835"/>
                </a:lnTo>
                <a:close/>
                <a:moveTo>
                  <a:pt x="172278" y="0"/>
                </a:moveTo>
                <a:lnTo>
                  <a:pt x="480943" y="0"/>
                </a:lnTo>
                <a:lnTo>
                  <a:pt x="480943" y="276591"/>
                </a:lnTo>
                <a:cubicBezTo>
                  <a:pt x="460844" y="263693"/>
                  <a:pt x="436438" y="256527"/>
                  <a:pt x="410596" y="256527"/>
                </a:cubicBezTo>
                <a:cubicBezTo>
                  <a:pt x="381883" y="256527"/>
                  <a:pt x="354606" y="265126"/>
                  <a:pt x="331636" y="282323"/>
                </a:cubicBezTo>
                <a:lnTo>
                  <a:pt x="81832" y="282323"/>
                </a:lnTo>
                <a:lnTo>
                  <a:pt x="81832" y="322450"/>
                </a:lnTo>
                <a:lnTo>
                  <a:pt x="295744" y="322450"/>
                </a:lnTo>
                <a:cubicBezTo>
                  <a:pt x="288566" y="335348"/>
                  <a:pt x="282823" y="351112"/>
                  <a:pt x="279952" y="366877"/>
                </a:cubicBezTo>
                <a:lnTo>
                  <a:pt x="81832" y="366877"/>
                </a:lnTo>
                <a:lnTo>
                  <a:pt x="81832" y="407004"/>
                </a:lnTo>
                <a:lnTo>
                  <a:pt x="279952" y="407004"/>
                </a:lnTo>
                <a:cubicBezTo>
                  <a:pt x="281388" y="422768"/>
                  <a:pt x="287130" y="438532"/>
                  <a:pt x="294309" y="451430"/>
                </a:cubicBezTo>
                <a:lnTo>
                  <a:pt x="81832" y="451430"/>
                </a:lnTo>
                <a:lnTo>
                  <a:pt x="81832" y="491557"/>
                </a:lnTo>
                <a:lnTo>
                  <a:pt x="327329" y="491557"/>
                </a:lnTo>
                <a:cubicBezTo>
                  <a:pt x="350299" y="511621"/>
                  <a:pt x="380448" y="521653"/>
                  <a:pt x="410596" y="521653"/>
                </a:cubicBezTo>
                <a:cubicBezTo>
                  <a:pt x="424953" y="521653"/>
                  <a:pt x="439309" y="518786"/>
                  <a:pt x="453666" y="514487"/>
                </a:cubicBezTo>
                <a:lnTo>
                  <a:pt x="480943" y="543149"/>
                </a:lnTo>
                <a:lnTo>
                  <a:pt x="480943" y="594741"/>
                </a:lnTo>
                <a:lnTo>
                  <a:pt x="0" y="594741"/>
                </a:lnTo>
                <a:lnTo>
                  <a:pt x="0" y="180572"/>
                </a:lnTo>
                <a:lnTo>
                  <a:pt x="172278" y="1805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0467EA1F-5302-4D43-836A-60D222564616}"/>
              </a:ext>
            </a:extLst>
          </p:cNvPr>
          <p:cNvSpPr/>
          <p:nvPr/>
        </p:nvSpPr>
        <p:spPr bwMode="auto">
          <a:xfrm>
            <a:off x="5557557" y="2828672"/>
            <a:ext cx="1068542" cy="1070803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5874552" y="3134013"/>
            <a:ext cx="434552" cy="379340"/>
          </a:xfrm>
          <a:custGeom>
            <a:avLst/>
            <a:gdLst>
              <a:gd name="connsiteX0" fmla="*/ 424975 w 608697"/>
              <a:gd name="connsiteY0" fmla="*/ 168488 h 531358"/>
              <a:gd name="connsiteX1" fmla="*/ 387604 w 608697"/>
              <a:gd name="connsiteY1" fmla="*/ 205806 h 531358"/>
              <a:gd name="connsiteX2" fmla="*/ 424975 w 608697"/>
              <a:gd name="connsiteY2" fmla="*/ 243124 h 531358"/>
              <a:gd name="connsiteX3" fmla="*/ 462346 w 608697"/>
              <a:gd name="connsiteY3" fmla="*/ 205806 h 531358"/>
              <a:gd name="connsiteX4" fmla="*/ 424975 w 608697"/>
              <a:gd name="connsiteY4" fmla="*/ 168488 h 531358"/>
              <a:gd name="connsiteX5" fmla="*/ 287947 w 608697"/>
              <a:gd name="connsiteY5" fmla="*/ 168488 h 531358"/>
              <a:gd name="connsiteX6" fmla="*/ 250576 w 608697"/>
              <a:gd name="connsiteY6" fmla="*/ 205806 h 531358"/>
              <a:gd name="connsiteX7" fmla="*/ 287947 w 608697"/>
              <a:gd name="connsiteY7" fmla="*/ 243124 h 531358"/>
              <a:gd name="connsiteX8" fmla="*/ 325318 w 608697"/>
              <a:gd name="connsiteY8" fmla="*/ 205806 h 531358"/>
              <a:gd name="connsiteX9" fmla="*/ 287947 w 608697"/>
              <a:gd name="connsiteY9" fmla="*/ 168488 h 531358"/>
              <a:gd name="connsiteX10" fmla="*/ 102356 w 608697"/>
              <a:gd name="connsiteY10" fmla="*/ 121231 h 531358"/>
              <a:gd name="connsiteX11" fmla="*/ 98850 w 608697"/>
              <a:gd name="connsiteY11" fmla="*/ 127711 h 531358"/>
              <a:gd name="connsiteX12" fmla="*/ 76842 w 608697"/>
              <a:gd name="connsiteY12" fmla="*/ 217990 h 531358"/>
              <a:gd name="connsiteX13" fmla="*/ 98850 w 608697"/>
              <a:gd name="connsiteY13" fmla="*/ 308194 h 531358"/>
              <a:gd name="connsiteX14" fmla="*/ 157488 w 608697"/>
              <a:gd name="connsiteY14" fmla="*/ 380223 h 531358"/>
              <a:gd name="connsiteX15" fmla="*/ 344668 w 608697"/>
              <a:gd name="connsiteY15" fmla="*/ 444729 h 531358"/>
              <a:gd name="connsiteX16" fmla="*/ 370257 w 608697"/>
              <a:gd name="connsiteY16" fmla="*/ 443687 h 531358"/>
              <a:gd name="connsiteX17" fmla="*/ 236717 w 608697"/>
              <a:gd name="connsiteY17" fmla="*/ 477876 h 531358"/>
              <a:gd name="connsiteX18" fmla="*/ 198072 w 608697"/>
              <a:gd name="connsiteY18" fmla="*/ 475344 h 531358"/>
              <a:gd name="connsiteX19" fmla="*/ 82437 w 608697"/>
              <a:gd name="connsiteY19" fmla="*/ 531284 h 531358"/>
              <a:gd name="connsiteX20" fmla="*/ 81542 w 608697"/>
              <a:gd name="connsiteY20" fmla="*/ 531358 h 531358"/>
              <a:gd name="connsiteX21" fmla="*/ 75051 w 608697"/>
              <a:gd name="connsiteY21" fmla="*/ 527857 h 531358"/>
              <a:gd name="connsiteX22" fmla="*/ 74753 w 608697"/>
              <a:gd name="connsiteY22" fmla="*/ 519738 h 531358"/>
              <a:gd name="connsiteX23" fmla="*/ 88778 w 608697"/>
              <a:gd name="connsiteY23" fmla="*/ 435046 h 531358"/>
              <a:gd name="connsiteX24" fmla="*/ 0 w 608697"/>
              <a:gd name="connsiteY24" fmla="*/ 282198 h 531358"/>
              <a:gd name="connsiteX25" fmla="*/ 102356 w 608697"/>
              <a:gd name="connsiteY25" fmla="*/ 121231 h 531358"/>
              <a:gd name="connsiteX26" fmla="*/ 356424 w 608697"/>
              <a:gd name="connsiteY26" fmla="*/ 0 h 531358"/>
              <a:gd name="connsiteX27" fmla="*/ 608697 w 608697"/>
              <a:gd name="connsiteY27" fmla="*/ 211244 h 531358"/>
              <a:gd name="connsiteX28" fmla="*/ 518290 w 608697"/>
              <a:gd name="connsiteY28" fmla="*/ 373401 h 531358"/>
              <a:gd name="connsiteX29" fmla="*/ 531941 w 608697"/>
              <a:gd name="connsiteY29" fmla="*/ 441109 h 531358"/>
              <a:gd name="connsiteX30" fmla="*/ 531120 w 608697"/>
              <a:gd name="connsiteY30" fmla="*/ 465391 h 531358"/>
              <a:gd name="connsiteX31" fmla="*/ 511577 w 608697"/>
              <a:gd name="connsiteY31" fmla="*/ 475894 h 531358"/>
              <a:gd name="connsiteX32" fmla="*/ 509041 w 608697"/>
              <a:gd name="connsiteY32" fmla="*/ 475745 h 531358"/>
              <a:gd name="connsiteX33" fmla="*/ 391408 w 608697"/>
              <a:gd name="connsiteY33" fmla="*/ 420476 h 531358"/>
              <a:gd name="connsiteX34" fmla="*/ 356424 w 608697"/>
              <a:gd name="connsiteY34" fmla="*/ 422487 h 531358"/>
              <a:gd name="connsiteX35" fmla="*/ 104225 w 608697"/>
              <a:gd name="connsiteY35" fmla="*/ 211244 h 531358"/>
              <a:gd name="connsiteX36" fmla="*/ 356424 w 608697"/>
              <a:gd name="connsiteY36" fmla="*/ 0 h 53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8697" h="531358">
                <a:moveTo>
                  <a:pt x="424975" y="168488"/>
                </a:moveTo>
                <a:cubicBezTo>
                  <a:pt x="404312" y="168488"/>
                  <a:pt x="387604" y="185248"/>
                  <a:pt x="387604" y="205806"/>
                </a:cubicBezTo>
                <a:cubicBezTo>
                  <a:pt x="387604" y="226439"/>
                  <a:pt x="404312" y="243124"/>
                  <a:pt x="424975" y="243124"/>
                </a:cubicBezTo>
                <a:cubicBezTo>
                  <a:pt x="445562" y="243124"/>
                  <a:pt x="462346" y="226439"/>
                  <a:pt x="462346" y="205806"/>
                </a:cubicBezTo>
                <a:cubicBezTo>
                  <a:pt x="462346" y="185248"/>
                  <a:pt x="445637" y="168488"/>
                  <a:pt x="424975" y="168488"/>
                </a:cubicBezTo>
                <a:close/>
                <a:moveTo>
                  <a:pt x="287947" y="168488"/>
                </a:moveTo>
                <a:cubicBezTo>
                  <a:pt x="267285" y="168488"/>
                  <a:pt x="250576" y="185248"/>
                  <a:pt x="250576" y="205806"/>
                </a:cubicBezTo>
                <a:cubicBezTo>
                  <a:pt x="250576" y="226439"/>
                  <a:pt x="267285" y="243124"/>
                  <a:pt x="287947" y="243124"/>
                </a:cubicBezTo>
                <a:cubicBezTo>
                  <a:pt x="308610" y="243124"/>
                  <a:pt x="325318" y="226439"/>
                  <a:pt x="325318" y="205806"/>
                </a:cubicBezTo>
                <a:cubicBezTo>
                  <a:pt x="325318" y="185248"/>
                  <a:pt x="308610" y="168488"/>
                  <a:pt x="287947" y="168488"/>
                </a:cubicBezTo>
                <a:close/>
                <a:moveTo>
                  <a:pt x="102356" y="121231"/>
                </a:moveTo>
                <a:cubicBezTo>
                  <a:pt x="101162" y="123317"/>
                  <a:pt x="99969" y="125477"/>
                  <a:pt x="98850" y="127711"/>
                </a:cubicBezTo>
                <a:cubicBezTo>
                  <a:pt x="84227" y="156240"/>
                  <a:pt x="76842" y="186631"/>
                  <a:pt x="76842" y="217990"/>
                </a:cubicBezTo>
                <a:cubicBezTo>
                  <a:pt x="76842" y="249275"/>
                  <a:pt x="84227" y="279666"/>
                  <a:pt x="98850" y="308194"/>
                </a:cubicBezTo>
                <a:cubicBezTo>
                  <a:pt x="112726" y="335308"/>
                  <a:pt x="132496" y="359516"/>
                  <a:pt x="157488" y="380223"/>
                </a:cubicBezTo>
                <a:cubicBezTo>
                  <a:pt x="207845" y="421787"/>
                  <a:pt x="274317" y="444729"/>
                  <a:pt x="344668" y="444729"/>
                </a:cubicBezTo>
                <a:cubicBezTo>
                  <a:pt x="353173" y="444729"/>
                  <a:pt x="361752" y="444357"/>
                  <a:pt x="370257" y="443687"/>
                </a:cubicBezTo>
                <a:cubicBezTo>
                  <a:pt x="332209" y="465288"/>
                  <a:pt x="286254" y="477876"/>
                  <a:pt x="236717" y="477876"/>
                </a:cubicBezTo>
                <a:cubicBezTo>
                  <a:pt x="223736" y="477876"/>
                  <a:pt x="210755" y="477057"/>
                  <a:pt x="198072" y="475344"/>
                </a:cubicBezTo>
                <a:cubicBezTo>
                  <a:pt x="160397" y="499478"/>
                  <a:pt x="110637" y="528155"/>
                  <a:pt x="82437" y="531284"/>
                </a:cubicBezTo>
                <a:cubicBezTo>
                  <a:pt x="82138" y="531358"/>
                  <a:pt x="81840" y="531358"/>
                  <a:pt x="81542" y="531358"/>
                </a:cubicBezTo>
                <a:cubicBezTo>
                  <a:pt x="78930" y="531358"/>
                  <a:pt x="76469" y="530017"/>
                  <a:pt x="75051" y="527857"/>
                </a:cubicBezTo>
                <a:cubicBezTo>
                  <a:pt x="73410" y="525399"/>
                  <a:pt x="73335" y="522271"/>
                  <a:pt x="74753" y="519738"/>
                </a:cubicBezTo>
                <a:cubicBezTo>
                  <a:pt x="75051" y="519291"/>
                  <a:pt x="99223" y="476014"/>
                  <a:pt x="88778" y="435046"/>
                </a:cubicBezTo>
                <a:cubicBezTo>
                  <a:pt x="32303" y="397653"/>
                  <a:pt x="0" y="342160"/>
                  <a:pt x="0" y="282198"/>
                </a:cubicBezTo>
                <a:cubicBezTo>
                  <a:pt x="0" y="215532"/>
                  <a:pt x="40584" y="156538"/>
                  <a:pt x="102356" y="121231"/>
                </a:cubicBezTo>
                <a:close/>
                <a:moveTo>
                  <a:pt x="356424" y="0"/>
                </a:moveTo>
                <a:cubicBezTo>
                  <a:pt x="495540" y="0"/>
                  <a:pt x="608697" y="94747"/>
                  <a:pt x="608697" y="211244"/>
                </a:cubicBezTo>
                <a:cubicBezTo>
                  <a:pt x="608697" y="274408"/>
                  <a:pt x="575802" y="333178"/>
                  <a:pt x="518290" y="373401"/>
                </a:cubicBezTo>
                <a:cubicBezTo>
                  <a:pt x="512845" y="406324"/>
                  <a:pt x="531717" y="440811"/>
                  <a:pt x="531941" y="441109"/>
                </a:cubicBezTo>
                <a:cubicBezTo>
                  <a:pt x="536267" y="448781"/>
                  <a:pt x="535969" y="458092"/>
                  <a:pt x="531120" y="465391"/>
                </a:cubicBezTo>
                <a:cubicBezTo>
                  <a:pt x="526794" y="472021"/>
                  <a:pt x="519484" y="475894"/>
                  <a:pt x="511577" y="475894"/>
                </a:cubicBezTo>
                <a:cubicBezTo>
                  <a:pt x="510756" y="475894"/>
                  <a:pt x="509936" y="475894"/>
                  <a:pt x="509041" y="475745"/>
                </a:cubicBezTo>
                <a:cubicBezTo>
                  <a:pt x="484574" y="473064"/>
                  <a:pt x="444966" y="454442"/>
                  <a:pt x="391408" y="420476"/>
                </a:cubicBezTo>
                <a:cubicBezTo>
                  <a:pt x="379920" y="421817"/>
                  <a:pt x="368135" y="422487"/>
                  <a:pt x="356424" y="422487"/>
                </a:cubicBezTo>
                <a:cubicBezTo>
                  <a:pt x="217382" y="422487"/>
                  <a:pt x="104225" y="327741"/>
                  <a:pt x="104225" y="211244"/>
                </a:cubicBezTo>
                <a:cubicBezTo>
                  <a:pt x="104225" y="94747"/>
                  <a:pt x="217382" y="0"/>
                  <a:pt x="3564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>
          <a:xfrm>
            <a:off x="4499076" y="3700648"/>
            <a:ext cx="438464" cy="395392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7292429" y="3790234"/>
            <a:ext cx="436196" cy="394686"/>
          </a:xfrm>
          <a:custGeom>
            <a:avLst/>
            <a:gdLst>
              <a:gd name="connsiteX0" fmla="*/ 407586 w 606580"/>
              <a:gd name="connsiteY0" fmla="*/ 252695 h 548858"/>
              <a:gd name="connsiteX1" fmla="*/ 502285 w 606580"/>
              <a:gd name="connsiteY1" fmla="*/ 252695 h 548858"/>
              <a:gd name="connsiteX2" fmla="*/ 502285 w 606580"/>
              <a:gd name="connsiteY2" fmla="*/ 346759 h 548858"/>
              <a:gd name="connsiteX3" fmla="*/ 407586 w 606580"/>
              <a:gd name="connsiteY3" fmla="*/ 346759 h 548858"/>
              <a:gd name="connsiteX4" fmla="*/ 104296 w 606580"/>
              <a:gd name="connsiteY4" fmla="*/ 205698 h 548858"/>
              <a:gd name="connsiteX5" fmla="*/ 199065 w 606580"/>
              <a:gd name="connsiteY5" fmla="*/ 205698 h 548858"/>
              <a:gd name="connsiteX6" fmla="*/ 199065 w 606580"/>
              <a:gd name="connsiteY6" fmla="*/ 346758 h 548858"/>
              <a:gd name="connsiteX7" fmla="*/ 104296 w 606580"/>
              <a:gd name="connsiteY7" fmla="*/ 346758 h 548858"/>
              <a:gd name="connsiteX8" fmla="*/ 255870 w 606580"/>
              <a:gd name="connsiteY8" fmla="*/ 96040 h 548858"/>
              <a:gd name="connsiteX9" fmla="*/ 350710 w 606580"/>
              <a:gd name="connsiteY9" fmla="*/ 96040 h 548858"/>
              <a:gd name="connsiteX10" fmla="*/ 350710 w 606580"/>
              <a:gd name="connsiteY10" fmla="*/ 346759 h 548858"/>
              <a:gd name="connsiteX11" fmla="*/ 255870 w 606580"/>
              <a:gd name="connsiteY11" fmla="*/ 346759 h 548858"/>
              <a:gd name="connsiteX12" fmla="*/ 37882 w 606580"/>
              <a:gd name="connsiteY12" fmla="*/ 37913 h 548858"/>
              <a:gd name="connsiteX13" fmla="*/ 37882 w 606580"/>
              <a:gd name="connsiteY13" fmla="*/ 405363 h 548858"/>
              <a:gd name="connsiteX14" fmla="*/ 568698 w 606580"/>
              <a:gd name="connsiteY14" fmla="*/ 405363 h 548858"/>
              <a:gd name="connsiteX15" fmla="*/ 568698 w 606580"/>
              <a:gd name="connsiteY15" fmla="*/ 37913 h 548858"/>
              <a:gd name="connsiteX16" fmla="*/ 18941 w 606580"/>
              <a:gd name="connsiteY16" fmla="*/ 0 h 548858"/>
              <a:gd name="connsiteX17" fmla="*/ 587639 w 606580"/>
              <a:gd name="connsiteY17" fmla="*/ 0 h 548858"/>
              <a:gd name="connsiteX18" fmla="*/ 606580 w 606580"/>
              <a:gd name="connsiteY18" fmla="*/ 18910 h 548858"/>
              <a:gd name="connsiteX19" fmla="*/ 606580 w 606580"/>
              <a:gd name="connsiteY19" fmla="*/ 424274 h 548858"/>
              <a:gd name="connsiteX20" fmla="*/ 587639 w 606580"/>
              <a:gd name="connsiteY20" fmla="*/ 443184 h 548858"/>
              <a:gd name="connsiteX21" fmla="*/ 322278 w 606580"/>
              <a:gd name="connsiteY21" fmla="*/ 443184 h 548858"/>
              <a:gd name="connsiteX22" fmla="*/ 322278 w 606580"/>
              <a:gd name="connsiteY22" fmla="*/ 511038 h 548858"/>
              <a:gd name="connsiteX23" fmla="*/ 450223 w 606580"/>
              <a:gd name="connsiteY23" fmla="*/ 511038 h 548858"/>
              <a:gd name="connsiteX24" fmla="*/ 450223 w 606580"/>
              <a:gd name="connsiteY24" fmla="*/ 548858 h 548858"/>
              <a:gd name="connsiteX25" fmla="*/ 156357 w 606580"/>
              <a:gd name="connsiteY25" fmla="*/ 548858 h 548858"/>
              <a:gd name="connsiteX26" fmla="*/ 156357 w 606580"/>
              <a:gd name="connsiteY26" fmla="*/ 511038 h 548858"/>
              <a:gd name="connsiteX27" fmla="*/ 284302 w 606580"/>
              <a:gd name="connsiteY27" fmla="*/ 511038 h 548858"/>
              <a:gd name="connsiteX28" fmla="*/ 284302 w 606580"/>
              <a:gd name="connsiteY28" fmla="*/ 443184 h 548858"/>
              <a:gd name="connsiteX29" fmla="*/ 18941 w 606580"/>
              <a:gd name="connsiteY29" fmla="*/ 443184 h 548858"/>
              <a:gd name="connsiteX30" fmla="*/ 0 w 606580"/>
              <a:gd name="connsiteY30" fmla="*/ 424274 h 548858"/>
              <a:gd name="connsiteX31" fmla="*/ 0 w 606580"/>
              <a:gd name="connsiteY31" fmla="*/ 18910 h 548858"/>
              <a:gd name="connsiteX32" fmla="*/ 18941 w 606580"/>
              <a:gd name="connsiteY32" fmla="*/ 0 h 548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06580" h="548858">
                <a:moveTo>
                  <a:pt x="407586" y="252695"/>
                </a:moveTo>
                <a:lnTo>
                  <a:pt x="502285" y="252695"/>
                </a:lnTo>
                <a:lnTo>
                  <a:pt x="502285" y="346759"/>
                </a:lnTo>
                <a:lnTo>
                  <a:pt x="407586" y="346759"/>
                </a:lnTo>
                <a:close/>
                <a:moveTo>
                  <a:pt x="104296" y="205698"/>
                </a:moveTo>
                <a:lnTo>
                  <a:pt x="199065" y="205698"/>
                </a:lnTo>
                <a:lnTo>
                  <a:pt x="199065" y="346758"/>
                </a:lnTo>
                <a:lnTo>
                  <a:pt x="104296" y="346758"/>
                </a:lnTo>
                <a:close/>
                <a:moveTo>
                  <a:pt x="255870" y="96040"/>
                </a:moveTo>
                <a:lnTo>
                  <a:pt x="350710" y="96040"/>
                </a:lnTo>
                <a:lnTo>
                  <a:pt x="350710" y="346759"/>
                </a:lnTo>
                <a:lnTo>
                  <a:pt x="255870" y="346759"/>
                </a:lnTo>
                <a:close/>
                <a:moveTo>
                  <a:pt x="37882" y="37913"/>
                </a:moveTo>
                <a:lnTo>
                  <a:pt x="37882" y="405363"/>
                </a:lnTo>
                <a:lnTo>
                  <a:pt x="568698" y="405363"/>
                </a:lnTo>
                <a:lnTo>
                  <a:pt x="568698" y="37913"/>
                </a:lnTo>
                <a:close/>
                <a:moveTo>
                  <a:pt x="18941" y="0"/>
                </a:moveTo>
                <a:lnTo>
                  <a:pt x="587639" y="0"/>
                </a:lnTo>
                <a:cubicBezTo>
                  <a:pt x="598038" y="0"/>
                  <a:pt x="606580" y="8528"/>
                  <a:pt x="606580" y="18910"/>
                </a:cubicBezTo>
                <a:lnTo>
                  <a:pt x="606580" y="424274"/>
                </a:lnTo>
                <a:cubicBezTo>
                  <a:pt x="606580" y="434656"/>
                  <a:pt x="598038" y="443184"/>
                  <a:pt x="587639" y="443184"/>
                </a:cubicBezTo>
                <a:lnTo>
                  <a:pt x="322278" y="443184"/>
                </a:lnTo>
                <a:lnTo>
                  <a:pt x="322278" y="511038"/>
                </a:lnTo>
                <a:lnTo>
                  <a:pt x="450223" y="511038"/>
                </a:lnTo>
                <a:lnTo>
                  <a:pt x="450223" y="548858"/>
                </a:lnTo>
                <a:lnTo>
                  <a:pt x="156357" y="548858"/>
                </a:lnTo>
                <a:lnTo>
                  <a:pt x="156357" y="511038"/>
                </a:lnTo>
                <a:lnTo>
                  <a:pt x="284302" y="511038"/>
                </a:lnTo>
                <a:lnTo>
                  <a:pt x="284302" y="443184"/>
                </a:lnTo>
                <a:lnTo>
                  <a:pt x="18941" y="443184"/>
                </a:lnTo>
                <a:cubicBezTo>
                  <a:pt x="8542" y="443184"/>
                  <a:pt x="0" y="434656"/>
                  <a:pt x="0" y="424274"/>
                </a:cubicBezTo>
                <a:lnTo>
                  <a:pt x="0" y="18910"/>
                </a:lnTo>
                <a:cubicBezTo>
                  <a:pt x="0" y="8528"/>
                  <a:pt x="8542" y="0"/>
                  <a:pt x="1894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45720" rIns="91440" bIns="45720" numCol="1" spcCol="127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2200" kern="1200">
              <a:cs typeface="+mn-ea"/>
              <a:sym typeface="+mn-lt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3487495" y="4694975"/>
            <a:ext cx="2430000" cy="917145"/>
            <a:chOff x="2856482" y="2362517"/>
            <a:chExt cx="2430000" cy="917145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526978F8-6625-42CB-89E6-C0629B387AFD}"/>
                </a:ext>
              </a:extLst>
            </p:cNvPr>
            <p:cNvSpPr/>
            <p:nvPr/>
          </p:nvSpPr>
          <p:spPr bwMode="auto">
            <a:xfrm>
              <a:off x="2856482" y="2750116"/>
              <a:ext cx="2430000" cy="529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</a:t>
              </a:r>
              <a:r>
                <a:rPr lang="en-US" altLang="zh-CN" sz="1100">
                  <a:cs typeface="+mn-ea"/>
                  <a:sym typeface="+mn-lt"/>
                </a:rPr>
                <a:t>. Choo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e </a:t>
              </a:r>
              <a:r>
                <a:rPr lang="en-US" altLang="zh-CN" sz="1100" dirty="0">
                  <a:cs typeface="+mn-ea"/>
                  <a:sym typeface="+mn-lt"/>
                </a:rPr>
                <a:t>the only option to retain text.</a:t>
              </a: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0F89A72E-A7E6-49D2-9C28-17AF1FA1BDB0}"/>
                </a:ext>
              </a:extLst>
            </p:cNvPr>
            <p:cNvSpPr txBox="1"/>
            <p:nvPr/>
          </p:nvSpPr>
          <p:spPr bwMode="auto">
            <a:xfrm>
              <a:off x="2856482" y="2362517"/>
              <a:ext cx="243000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t </a:t>
              </a:r>
              <a:r>
                <a:rPr lang="en-US" altLang="zh-CN" sz="2000" b="1" dirty="0">
                  <a:cs typeface="+mn-ea"/>
                  <a:sym typeface="+mn-lt"/>
                </a:rPr>
                <a:t>here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6279713" y="4694975"/>
            <a:ext cx="2430000" cy="917145"/>
            <a:chOff x="2856482" y="2362517"/>
            <a:chExt cx="2430000" cy="917145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526978F8-6625-42CB-89E6-C0629B387AFD}"/>
                </a:ext>
              </a:extLst>
            </p:cNvPr>
            <p:cNvSpPr/>
            <p:nvPr/>
          </p:nvSpPr>
          <p:spPr bwMode="auto">
            <a:xfrm>
              <a:off x="2856482" y="2750116"/>
              <a:ext cx="2430000" cy="529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</a:t>
              </a:r>
              <a:r>
                <a:rPr lang="en-US" altLang="zh-CN" sz="1100">
                  <a:cs typeface="+mn-ea"/>
                  <a:sym typeface="+mn-lt"/>
                </a:rPr>
                <a:t>. Choo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e </a:t>
              </a:r>
              <a:r>
                <a:rPr lang="en-US" altLang="zh-CN" sz="1100" dirty="0">
                  <a:cs typeface="+mn-ea"/>
                  <a:sym typeface="+mn-lt"/>
                </a:rPr>
                <a:t>the only option to retain text.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0F89A72E-A7E6-49D2-9C28-17AF1FA1BDB0}"/>
                </a:ext>
              </a:extLst>
            </p:cNvPr>
            <p:cNvSpPr txBox="1"/>
            <p:nvPr/>
          </p:nvSpPr>
          <p:spPr bwMode="auto">
            <a:xfrm>
              <a:off x="2856482" y="2362517"/>
              <a:ext cx="243000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t </a:t>
              </a:r>
              <a:r>
                <a:rPr lang="en-US" altLang="zh-CN" sz="2000" b="1" dirty="0">
                  <a:cs typeface="+mn-ea"/>
                  <a:sym typeface="+mn-lt"/>
                </a:rPr>
                <a:t>here</a:t>
              </a: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2111717" y="1473902"/>
            <a:ext cx="2430000" cy="917145"/>
            <a:chOff x="2856482" y="2362517"/>
            <a:chExt cx="2430000" cy="917145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526978F8-6625-42CB-89E6-C0629B387AFD}"/>
                </a:ext>
              </a:extLst>
            </p:cNvPr>
            <p:cNvSpPr/>
            <p:nvPr/>
          </p:nvSpPr>
          <p:spPr bwMode="auto">
            <a:xfrm>
              <a:off x="2856482" y="2750116"/>
              <a:ext cx="2430000" cy="529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</a:t>
              </a:r>
              <a:r>
                <a:rPr lang="en-US" altLang="zh-CN" sz="1100">
                  <a:cs typeface="+mn-ea"/>
                  <a:sym typeface="+mn-lt"/>
                </a:rPr>
                <a:t>. Choo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e </a:t>
              </a:r>
              <a:r>
                <a:rPr lang="en-US" altLang="zh-CN" sz="1100" dirty="0">
                  <a:cs typeface="+mn-ea"/>
                  <a:sym typeface="+mn-lt"/>
                </a:rPr>
                <a:t>the only option to retain text.</a:t>
              </a: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0F89A72E-A7E6-49D2-9C28-17AF1FA1BDB0}"/>
                </a:ext>
              </a:extLst>
            </p:cNvPr>
            <p:cNvSpPr txBox="1"/>
            <p:nvPr/>
          </p:nvSpPr>
          <p:spPr bwMode="auto">
            <a:xfrm>
              <a:off x="2856482" y="2362517"/>
              <a:ext cx="243000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t </a:t>
              </a:r>
              <a:r>
                <a:rPr lang="en-US" altLang="zh-CN" sz="2000" b="1" dirty="0">
                  <a:cs typeface="+mn-ea"/>
                  <a:sym typeface="+mn-lt"/>
                </a:rPr>
                <a:t>here</a:t>
              </a: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4854235" y="1473902"/>
            <a:ext cx="2430000" cy="917145"/>
            <a:chOff x="2856482" y="2362517"/>
            <a:chExt cx="2430000" cy="917145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526978F8-6625-42CB-89E6-C0629B387AFD}"/>
                </a:ext>
              </a:extLst>
            </p:cNvPr>
            <p:cNvSpPr/>
            <p:nvPr/>
          </p:nvSpPr>
          <p:spPr bwMode="auto">
            <a:xfrm>
              <a:off x="2856482" y="2750116"/>
              <a:ext cx="2430000" cy="529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</a:t>
              </a:r>
              <a:r>
                <a:rPr lang="en-US" altLang="zh-CN" sz="1100">
                  <a:cs typeface="+mn-ea"/>
                  <a:sym typeface="+mn-lt"/>
                </a:rPr>
                <a:t>. Choo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e </a:t>
              </a:r>
              <a:r>
                <a:rPr lang="en-US" altLang="zh-CN" sz="1100" dirty="0">
                  <a:cs typeface="+mn-ea"/>
                  <a:sym typeface="+mn-lt"/>
                </a:rPr>
                <a:t>the only option to retain text.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0F89A72E-A7E6-49D2-9C28-17AF1FA1BDB0}"/>
                </a:ext>
              </a:extLst>
            </p:cNvPr>
            <p:cNvSpPr txBox="1"/>
            <p:nvPr/>
          </p:nvSpPr>
          <p:spPr bwMode="auto">
            <a:xfrm>
              <a:off x="2856482" y="2362517"/>
              <a:ext cx="243000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e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7596754" y="1473902"/>
            <a:ext cx="2430000" cy="917145"/>
            <a:chOff x="2856482" y="2362517"/>
            <a:chExt cx="2430000" cy="917145"/>
          </a:xfrm>
        </p:grpSpPr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526978F8-6625-42CB-89E6-C0629B387AFD}"/>
                </a:ext>
              </a:extLst>
            </p:cNvPr>
            <p:cNvSpPr/>
            <p:nvPr/>
          </p:nvSpPr>
          <p:spPr bwMode="auto">
            <a:xfrm>
              <a:off x="2856482" y="2750116"/>
              <a:ext cx="2430000" cy="529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</a:t>
              </a:r>
              <a:r>
                <a:rPr lang="en-US" altLang="zh-CN" sz="1100">
                  <a:cs typeface="+mn-ea"/>
                  <a:sym typeface="+mn-lt"/>
                </a:rPr>
                <a:t>option t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 </a:t>
              </a:r>
              <a:r>
                <a:rPr lang="en-US" altLang="zh-CN" sz="1100" dirty="0">
                  <a:cs typeface="+mn-ea"/>
                  <a:sym typeface="+mn-lt"/>
                </a:rPr>
                <a:t>retain text.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F89A72E-A7E6-49D2-9C28-17AF1FA1BDB0}"/>
                </a:ext>
              </a:extLst>
            </p:cNvPr>
            <p:cNvSpPr txBox="1"/>
            <p:nvPr/>
          </p:nvSpPr>
          <p:spPr bwMode="auto">
            <a:xfrm>
              <a:off x="2856482" y="2362517"/>
              <a:ext cx="243000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e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sp>
        <p:nvSpPr>
          <p:cNvPr id="27" name="矩形 26">
            <a:extLst>
              <a:ext uri="{FF2B5EF4-FFF2-40B4-BE49-F238E27FC236}">
                <a16:creationId xmlns:a16="http://schemas.microsoft.com/office/drawing/2014/main" id="{F48E1AE8-22B8-4D93-BD17-7EC00EAB86AA}"/>
              </a:ext>
            </a:extLst>
          </p:cNvPr>
          <p:cNvSpPr/>
          <p:nvPr/>
        </p:nvSpPr>
        <p:spPr>
          <a:xfrm>
            <a:off x="660400" y="3178175"/>
            <a:ext cx="1309742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E81A33CC-723F-4428-9136-828E971ADAB5}"/>
              </a:ext>
            </a:extLst>
          </p:cNvPr>
          <p:cNvSpPr/>
          <p:nvPr/>
        </p:nvSpPr>
        <p:spPr>
          <a:xfrm>
            <a:off x="10221858" y="3189615"/>
            <a:ext cx="1309742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33546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共场所预防病毒措施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580031" y="348569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3786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共场所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A24DF396-117D-46BF-AFFC-4D510724A0A2}"/>
              </a:ext>
            </a:extLst>
          </p:cNvPr>
          <p:cNvSpPr/>
          <p:nvPr/>
        </p:nvSpPr>
        <p:spPr bwMode="auto">
          <a:xfrm>
            <a:off x="4818533" y="4518182"/>
            <a:ext cx="1111662" cy="1271447"/>
          </a:xfrm>
          <a:custGeom>
            <a:avLst/>
            <a:gdLst>
              <a:gd name="T0" fmla="*/ 0 w 1445"/>
              <a:gd name="T1" fmla="*/ 675 h 1653"/>
              <a:gd name="T2" fmla="*/ 662 w 1445"/>
              <a:gd name="T3" fmla="*/ 1329 h 1653"/>
              <a:gd name="T4" fmla="*/ 1309 w 1445"/>
              <a:gd name="T5" fmla="*/ 1463 h 1653"/>
              <a:gd name="T6" fmla="*/ 1387 w 1445"/>
              <a:gd name="T7" fmla="*/ 1653 h 1653"/>
              <a:gd name="T8" fmla="*/ 1273 w 1445"/>
              <a:gd name="T9" fmla="*/ 389 h 1653"/>
              <a:gd name="T10" fmla="*/ 655 w 1445"/>
              <a:gd name="T11" fmla="*/ 20 h 1653"/>
              <a:gd name="T12" fmla="*/ 0 w 1445"/>
              <a:gd name="T13" fmla="*/ 675 h 1653"/>
              <a:gd name="T14" fmla="*/ 117 w 1445"/>
              <a:gd name="T15" fmla="*/ 671 h 1653"/>
              <a:gd name="T16" fmla="*/ 652 w 1445"/>
              <a:gd name="T17" fmla="*/ 135 h 1653"/>
              <a:gd name="T18" fmla="*/ 1108 w 1445"/>
              <a:gd name="T19" fmla="*/ 389 h 1653"/>
              <a:gd name="T20" fmla="*/ 1275 w 1445"/>
              <a:gd name="T21" fmla="*/ 1129 h 1653"/>
              <a:gd name="T22" fmla="*/ 1121 w 1445"/>
              <a:gd name="T23" fmla="*/ 1248 h 1653"/>
              <a:gd name="T24" fmla="*/ 652 w 1445"/>
              <a:gd name="T25" fmla="*/ 1206 h 1653"/>
              <a:gd name="T26" fmla="*/ 117 w 1445"/>
              <a:gd name="T27" fmla="*/ 671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45" h="1653">
                <a:moveTo>
                  <a:pt x="0" y="675"/>
                </a:moveTo>
                <a:cubicBezTo>
                  <a:pt x="0" y="1036"/>
                  <a:pt x="294" y="1329"/>
                  <a:pt x="662" y="1329"/>
                </a:cubicBezTo>
                <a:cubicBezTo>
                  <a:pt x="662" y="1329"/>
                  <a:pt x="1224" y="1338"/>
                  <a:pt x="1309" y="1463"/>
                </a:cubicBezTo>
                <a:cubicBezTo>
                  <a:pt x="1388" y="1579"/>
                  <a:pt x="1346" y="1653"/>
                  <a:pt x="1387" y="1653"/>
                </a:cubicBezTo>
                <a:cubicBezTo>
                  <a:pt x="1445" y="1653"/>
                  <a:pt x="1445" y="703"/>
                  <a:pt x="1273" y="389"/>
                </a:cubicBezTo>
                <a:cubicBezTo>
                  <a:pt x="1183" y="224"/>
                  <a:pt x="992" y="39"/>
                  <a:pt x="655" y="20"/>
                </a:cubicBezTo>
                <a:cubicBezTo>
                  <a:pt x="294" y="0"/>
                  <a:pt x="0" y="313"/>
                  <a:pt x="0" y="675"/>
                </a:cubicBezTo>
                <a:close/>
                <a:moveTo>
                  <a:pt x="117" y="671"/>
                </a:moveTo>
                <a:cubicBezTo>
                  <a:pt x="117" y="375"/>
                  <a:pt x="357" y="135"/>
                  <a:pt x="652" y="135"/>
                </a:cubicBezTo>
                <a:cubicBezTo>
                  <a:pt x="845" y="135"/>
                  <a:pt x="1013" y="237"/>
                  <a:pt x="1108" y="389"/>
                </a:cubicBezTo>
                <a:cubicBezTo>
                  <a:pt x="1241" y="603"/>
                  <a:pt x="1275" y="923"/>
                  <a:pt x="1275" y="1129"/>
                </a:cubicBezTo>
                <a:cubicBezTo>
                  <a:pt x="1275" y="1254"/>
                  <a:pt x="1223" y="1273"/>
                  <a:pt x="1121" y="1248"/>
                </a:cubicBezTo>
                <a:cubicBezTo>
                  <a:pt x="1018" y="1223"/>
                  <a:pt x="863" y="1199"/>
                  <a:pt x="652" y="1206"/>
                </a:cubicBezTo>
                <a:cubicBezTo>
                  <a:pt x="357" y="1206"/>
                  <a:pt x="117" y="966"/>
                  <a:pt x="117" y="67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3ACA7226-5DD3-4D71-8A1B-B53320B5730C}"/>
              </a:ext>
            </a:extLst>
          </p:cNvPr>
          <p:cNvSpPr/>
          <p:nvPr/>
        </p:nvSpPr>
        <p:spPr bwMode="auto">
          <a:xfrm>
            <a:off x="4670138" y="3402941"/>
            <a:ext cx="1327095" cy="2412072"/>
          </a:xfrm>
          <a:custGeom>
            <a:avLst/>
            <a:gdLst>
              <a:gd name="T0" fmla="*/ 0 w 1725"/>
              <a:gd name="T1" fmla="*/ 728 h 3136"/>
              <a:gd name="T2" fmla="*/ 654 w 1725"/>
              <a:gd name="T3" fmla="*/ 1382 h 3136"/>
              <a:gd name="T4" fmla="*/ 1577 w 1725"/>
              <a:gd name="T5" fmla="*/ 1789 h 3136"/>
              <a:gd name="T6" fmla="*/ 1669 w 1725"/>
              <a:gd name="T7" fmla="*/ 3119 h 3136"/>
              <a:gd name="T8" fmla="*/ 1666 w 1725"/>
              <a:gd name="T9" fmla="*/ 1513 h 3136"/>
              <a:gd name="T10" fmla="*/ 654 w 1725"/>
              <a:gd name="T11" fmla="*/ 73 h 3136"/>
              <a:gd name="T12" fmla="*/ 0 w 1725"/>
              <a:gd name="T13" fmla="*/ 728 h 3136"/>
              <a:gd name="T14" fmla="*/ 119 w 1725"/>
              <a:gd name="T15" fmla="*/ 727 h 3136"/>
              <a:gd name="T16" fmla="*/ 858 w 1725"/>
              <a:gd name="T17" fmla="*/ 232 h 3136"/>
              <a:gd name="T18" fmla="*/ 858 w 1725"/>
              <a:gd name="T19" fmla="*/ 232 h 3136"/>
              <a:gd name="T20" fmla="*/ 1517 w 1725"/>
              <a:gd name="T21" fmla="*/ 1260 h 3136"/>
              <a:gd name="T22" fmla="*/ 1327 w 1725"/>
              <a:gd name="T23" fmla="*/ 1365 h 3136"/>
              <a:gd name="T24" fmla="*/ 654 w 1725"/>
              <a:gd name="T25" fmla="*/ 1263 h 3136"/>
              <a:gd name="T26" fmla="*/ 119 w 1725"/>
              <a:gd name="T27" fmla="*/ 727 h 3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25" h="3136">
                <a:moveTo>
                  <a:pt x="0" y="728"/>
                </a:moveTo>
                <a:cubicBezTo>
                  <a:pt x="0" y="1089"/>
                  <a:pt x="293" y="1382"/>
                  <a:pt x="654" y="1382"/>
                </a:cubicBezTo>
                <a:cubicBezTo>
                  <a:pt x="654" y="1382"/>
                  <a:pt x="1471" y="1368"/>
                  <a:pt x="1577" y="1789"/>
                </a:cubicBezTo>
                <a:cubicBezTo>
                  <a:pt x="1650" y="2081"/>
                  <a:pt x="1614" y="3136"/>
                  <a:pt x="1669" y="3119"/>
                </a:cubicBezTo>
                <a:cubicBezTo>
                  <a:pt x="1725" y="3102"/>
                  <a:pt x="1666" y="1513"/>
                  <a:pt x="1666" y="1513"/>
                </a:cubicBezTo>
                <a:cubicBezTo>
                  <a:pt x="1666" y="0"/>
                  <a:pt x="654" y="73"/>
                  <a:pt x="654" y="73"/>
                </a:cubicBezTo>
                <a:cubicBezTo>
                  <a:pt x="293" y="73"/>
                  <a:pt x="0" y="366"/>
                  <a:pt x="0" y="728"/>
                </a:cubicBezTo>
                <a:close/>
                <a:moveTo>
                  <a:pt x="119" y="727"/>
                </a:moveTo>
                <a:cubicBezTo>
                  <a:pt x="119" y="431"/>
                  <a:pt x="464" y="101"/>
                  <a:pt x="858" y="232"/>
                </a:cubicBezTo>
                <a:cubicBezTo>
                  <a:pt x="858" y="232"/>
                  <a:pt x="858" y="232"/>
                  <a:pt x="858" y="232"/>
                </a:cubicBezTo>
                <a:cubicBezTo>
                  <a:pt x="1302" y="379"/>
                  <a:pt x="1461" y="872"/>
                  <a:pt x="1517" y="1260"/>
                </a:cubicBezTo>
                <a:cubicBezTo>
                  <a:pt x="1530" y="1352"/>
                  <a:pt x="1487" y="1434"/>
                  <a:pt x="1327" y="1365"/>
                </a:cubicBezTo>
                <a:cubicBezTo>
                  <a:pt x="1190" y="1306"/>
                  <a:pt x="976" y="1254"/>
                  <a:pt x="654" y="1263"/>
                </a:cubicBezTo>
                <a:cubicBezTo>
                  <a:pt x="358" y="1263"/>
                  <a:pt x="119" y="1023"/>
                  <a:pt x="119" y="7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A7AE2CF8-FE13-4BF0-A55F-7E80FD50BC1F}"/>
              </a:ext>
            </a:extLst>
          </p:cNvPr>
          <p:cNvSpPr/>
          <p:nvPr/>
        </p:nvSpPr>
        <p:spPr bwMode="auto">
          <a:xfrm>
            <a:off x="4617744" y="2292255"/>
            <a:ext cx="1444900" cy="3510392"/>
          </a:xfrm>
          <a:custGeom>
            <a:avLst/>
            <a:gdLst>
              <a:gd name="T0" fmla="*/ 0 w 1878"/>
              <a:gd name="T1" fmla="*/ 744 h 4564"/>
              <a:gd name="T2" fmla="*/ 744 w 1878"/>
              <a:gd name="T3" fmla="*/ 1488 h 4564"/>
              <a:gd name="T4" fmla="*/ 1697 w 1878"/>
              <a:gd name="T5" fmla="*/ 2095 h 4564"/>
              <a:gd name="T6" fmla="*/ 1808 w 1878"/>
              <a:gd name="T7" fmla="*/ 4564 h 4564"/>
              <a:gd name="T8" fmla="*/ 1820 w 1878"/>
              <a:gd name="T9" fmla="*/ 2063 h 4564"/>
              <a:gd name="T10" fmla="*/ 744 w 1878"/>
              <a:gd name="T11" fmla="*/ 0 h 4564"/>
              <a:gd name="T12" fmla="*/ 0 w 1878"/>
              <a:gd name="T13" fmla="*/ 744 h 4564"/>
              <a:gd name="T14" fmla="*/ 132 w 1878"/>
              <a:gd name="T15" fmla="*/ 744 h 4564"/>
              <a:gd name="T16" fmla="*/ 744 w 1878"/>
              <a:gd name="T17" fmla="*/ 131 h 4564"/>
              <a:gd name="T18" fmla="*/ 1247 w 1878"/>
              <a:gd name="T19" fmla="*/ 394 h 4564"/>
              <a:gd name="T20" fmla="*/ 1247 w 1878"/>
              <a:gd name="T21" fmla="*/ 394 h 4564"/>
              <a:gd name="T22" fmla="*/ 1571 w 1878"/>
              <a:gd name="T23" fmla="*/ 1236 h 4564"/>
              <a:gd name="T24" fmla="*/ 1334 w 1878"/>
              <a:gd name="T25" fmla="*/ 1457 h 4564"/>
              <a:gd name="T26" fmla="*/ 744 w 1878"/>
              <a:gd name="T27" fmla="*/ 1356 h 4564"/>
              <a:gd name="T28" fmla="*/ 132 w 1878"/>
              <a:gd name="T29" fmla="*/ 744 h 4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78" h="4564">
                <a:moveTo>
                  <a:pt x="0" y="744"/>
                </a:moveTo>
                <a:cubicBezTo>
                  <a:pt x="0" y="1155"/>
                  <a:pt x="333" y="1488"/>
                  <a:pt x="744" y="1488"/>
                </a:cubicBezTo>
                <a:cubicBezTo>
                  <a:pt x="1292" y="1488"/>
                  <a:pt x="1607" y="1743"/>
                  <a:pt x="1697" y="2095"/>
                </a:cubicBezTo>
                <a:cubicBezTo>
                  <a:pt x="1816" y="2554"/>
                  <a:pt x="1737" y="4564"/>
                  <a:pt x="1808" y="4564"/>
                </a:cubicBezTo>
                <a:cubicBezTo>
                  <a:pt x="1878" y="4564"/>
                  <a:pt x="1827" y="2249"/>
                  <a:pt x="1820" y="2063"/>
                </a:cubicBezTo>
                <a:cubicBezTo>
                  <a:pt x="1786" y="1190"/>
                  <a:pt x="1594" y="0"/>
                  <a:pt x="744" y="0"/>
                </a:cubicBezTo>
                <a:cubicBezTo>
                  <a:pt x="333" y="0"/>
                  <a:pt x="0" y="333"/>
                  <a:pt x="0" y="744"/>
                </a:cubicBezTo>
                <a:close/>
                <a:moveTo>
                  <a:pt x="132" y="744"/>
                </a:moveTo>
                <a:cubicBezTo>
                  <a:pt x="132" y="406"/>
                  <a:pt x="406" y="131"/>
                  <a:pt x="744" y="131"/>
                </a:cubicBezTo>
                <a:cubicBezTo>
                  <a:pt x="952" y="131"/>
                  <a:pt x="1136" y="235"/>
                  <a:pt x="1247" y="394"/>
                </a:cubicBezTo>
                <a:cubicBezTo>
                  <a:pt x="1247" y="394"/>
                  <a:pt x="1247" y="394"/>
                  <a:pt x="1247" y="394"/>
                </a:cubicBezTo>
                <a:cubicBezTo>
                  <a:pt x="1426" y="638"/>
                  <a:pt x="1514" y="947"/>
                  <a:pt x="1571" y="1236"/>
                </a:cubicBezTo>
                <a:cubicBezTo>
                  <a:pt x="1613" y="1452"/>
                  <a:pt x="1541" y="1554"/>
                  <a:pt x="1334" y="1457"/>
                </a:cubicBezTo>
                <a:cubicBezTo>
                  <a:pt x="1195" y="1392"/>
                  <a:pt x="1035" y="1356"/>
                  <a:pt x="744" y="1356"/>
                </a:cubicBezTo>
                <a:cubicBezTo>
                  <a:pt x="406" y="1356"/>
                  <a:pt x="132" y="1082"/>
                  <a:pt x="132" y="74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7F4F35BC-C420-403D-BB42-EE2541277AA2}"/>
              </a:ext>
            </a:extLst>
          </p:cNvPr>
          <p:cNvSpPr/>
          <p:nvPr/>
        </p:nvSpPr>
        <p:spPr bwMode="auto">
          <a:xfrm>
            <a:off x="6129682" y="2292255"/>
            <a:ext cx="1444575" cy="3510392"/>
          </a:xfrm>
          <a:custGeom>
            <a:avLst/>
            <a:gdLst>
              <a:gd name="T0" fmla="*/ 1133 w 1878"/>
              <a:gd name="T1" fmla="*/ 0 h 4564"/>
              <a:gd name="T2" fmla="*/ 57 w 1878"/>
              <a:gd name="T3" fmla="*/ 2063 h 4564"/>
              <a:gd name="T4" fmla="*/ 70 w 1878"/>
              <a:gd name="T5" fmla="*/ 4564 h 4564"/>
              <a:gd name="T6" fmla="*/ 180 w 1878"/>
              <a:gd name="T7" fmla="*/ 2095 h 4564"/>
              <a:gd name="T8" fmla="*/ 1133 w 1878"/>
              <a:gd name="T9" fmla="*/ 1488 h 4564"/>
              <a:gd name="T10" fmla="*/ 1878 w 1878"/>
              <a:gd name="T11" fmla="*/ 744 h 4564"/>
              <a:gd name="T12" fmla="*/ 1133 w 1878"/>
              <a:gd name="T13" fmla="*/ 0 h 4564"/>
              <a:gd name="T14" fmla="*/ 1133 w 1878"/>
              <a:gd name="T15" fmla="*/ 1356 h 4564"/>
              <a:gd name="T16" fmla="*/ 544 w 1878"/>
              <a:gd name="T17" fmla="*/ 1457 h 4564"/>
              <a:gd name="T18" fmla="*/ 307 w 1878"/>
              <a:gd name="T19" fmla="*/ 1236 h 4564"/>
              <a:gd name="T20" fmla="*/ 631 w 1878"/>
              <a:gd name="T21" fmla="*/ 394 h 4564"/>
              <a:gd name="T22" fmla="*/ 631 w 1878"/>
              <a:gd name="T23" fmla="*/ 394 h 4564"/>
              <a:gd name="T24" fmla="*/ 1133 w 1878"/>
              <a:gd name="T25" fmla="*/ 131 h 4564"/>
              <a:gd name="T26" fmla="*/ 1746 w 1878"/>
              <a:gd name="T27" fmla="*/ 744 h 4564"/>
              <a:gd name="T28" fmla="*/ 1133 w 1878"/>
              <a:gd name="T29" fmla="*/ 1356 h 4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78" h="4564">
                <a:moveTo>
                  <a:pt x="1133" y="0"/>
                </a:moveTo>
                <a:cubicBezTo>
                  <a:pt x="284" y="0"/>
                  <a:pt x="91" y="1190"/>
                  <a:pt x="57" y="2063"/>
                </a:cubicBezTo>
                <a:cubicBezTo>
                  <a:pt x="50" y="2249"/>
                  <a:pt x="0" y="4564"/>
                  <a:pt x="70" y="4564"/>
                </a:cubicBezTo>
                <a:cubicBezTo>
                  <a:pt x="141" y="4564"/>
                  <a:pt x="62" y="2554"/>
                  <a:pt x="180" y="2095"/>
                </a:cubicBezTo>
                <a:cubicBezTo>
                  <a:pt x="271" y="1743"/>
                  <a:pt x="585" y="1488"/>
                  <a:pt x="1133" y="1488"/>
                </a:cubicBezTo>
                <a:cubicBezTo>
                  <a:pt x="1544" y="1488"/>
                  <a:pt x="1878" y="1155"/>
                  <a:pt x="1878" y="744"/>
                </a:cubicBezTo>
                <a:cubicBezTo>
                  <a:pt x="1878" y="333"/>
                  <a:pt x="1544" y="0"/>
                  <a:pt x="1133" y="0"/>
                </a:cubicBezTo>
                <a:close/>
                <a:moveTo>
                  <a:pt x="1133" y="1356"/>
                </a:moveTo>
                <a:cubicBezTo>
                  <a:pt x="843" y="1356"/>
                  <a:pt x="682" y="1392"/>
                  <a:pt x="544" y="1457"/>
                </a:cubicBezTo>
                <a:cubicBezTo>
                  <a:pt x="337" y="1554"/>
                  <a:pt x="265" y="1452"/>
                  <a:pt x="307" y="1236"/>
                </a:cubicBezTo>
                <a:cubicBezTo>
                  <a:pt x="364" y="947"/>
                  <a:pt x="451" y="638"/>
                  <a:pt x="631" y="394"/>
                </a:cubicBezTo>
                <a:cubicBezTo>
                  <a:pt x="631" y="394"/>
                  <a:pt x="631" y="394"/>
                  <a:pt x="631" y="394"/>
                </a:cubicBezTo>
                <a:cubicBezTo>
                  <a:pt x="741" y="235"/>
                  <a:pt x="925" y="131"/>
                  <a:pt x="1133" y="131"/>
                </a:cubicBezTo>
                <a:cubicBezTo>
                  <a:pt x="1472" y="131"/>
                  <a:pt x="1746" y="406"/>
                  <a:pt x="1746" y="744"/>
                </a:cubicBezTo>
                <a:cubicBezTo>
                  <a:pt x="1746" y="1082"/>
                  <a:pt x="1472" y="1356"/>
                  <a:pt x="1133" y="135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0ED6673-8EA9-4E5B-A664-A6643E94D5E7}"/>
              </a:ext>
            </a:extLst>
          </p:cNvPr>
          <p:cNvSpPr/>
          <p:nvPr/>
        </p:nvSpPr>
        <p:spPr bwMode="auto">
          <a:xfrm>
            <a:off x="6199175" y="3398384"/>
            <a:ext cx="1327746" cy="2412072"/>
          </a:xfrm>
          <a:custGeom>
            <a:avLst/>
            <a:gdLst>
              <a:gd name="T0" fmla="*/ 1072 w 1726"/>
              <a:gd name="T1" fmla="*/ 73 h 3136"/>
              <a:gd name="T2" fmla="*/ 60 w 1726"/>
              <a:gd name="T3" fmla="*/ 1513 h 3136"/>
              <a:gd name="T4" fmla="*/ 57 w 1726"/>
              <a:gd name="T5" fmla="*/ 3119 h 3136"/>
              <a:gd name="T6" fmla="*/ 149 w 1726"/>
              <a:gd name="T7" fmla="*/ 1789 h 3136"/>
              <a:gd name="T8" fmla="*/ 1072 w 1726"/>
              <a:gd name="T9" fmla="*/ 1382 h 3136"/>
              <a:gd name="T10" fmla="*/ 1726 w 1726"/>
              <a:gd name="T11" fmla="*/ 728 h 3136"/>
              <a:gd name="T12" fmla="*/ 1072 w 1726"/>
              <a:gd name="T13" fmla="*/ 73 h 3136"/>
              <a:gd name="T14" fmla="*/ 1072 w 1726"/>
              <a:gd name="T15" fmla="*/ 1263 h 3136"/>
              <a:gd name="T16" fmla="*/ 399 w 1726"/>
              <a:gd name="T17" fmla="*/ 1365 h 3136"/>
              <a:gd name="T18" fmla="*/ 209 w 1726"/>
              <a:gd name="T19" fmla="*/ 1260 h 3136"/>
              <a:gd name="T20" fmla="*/ 867 w 1726"/>
              <a:gd name="T21" fmla="*/ 232 h 3136"/>
              <a:gd name="T22" fmla="*/ 867 w 1726"/>
              <a:gd name="T23" fmla="*/ 232 h 3136"/>
              <a:gd name="T24" fmla="*/ 1607 w 1726"/>
              <a:gd name="T25" fmla="*/ 727 h 3136"/>
              <a:gd name="T26" fmla="*/ 1072 w 1726"/>
              <a:gd name="T27" fmla="*/ 1263 h 3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26" h="3136">
                <a:moveTo>
                  <a:pt x="1072" y="73"/>
                </a:moveTo>
                <a:cubicBezTo>
                  <a:pt x="1072" y="73"/>
                  <a:pt x="60" y="0"/>
                  <a:pt x="60" y="1513"/>
                </a:cubicBezTo>
                <a:cubicBezTo>
                  <a:pt x="60" y="1513"/>
                  <a:pt x="0" y="3102"/>
                  <a:pt x="57" y="3119"/>
                </a:cubicBezTo>
                <a:cubicBezTo>
                  <a:pt x="111" y="3136"/>
                  <a:pt x="75" y="2081"/>
                  <a:pt x="149" y="1789"/>
                </a:cubicBezTo>
                <a:cubicBezTo>
                  <a:pt x="255" y="1368"/>
                  <a:pt x="1072" y="1382"/>
                  <a:pt x="1072" y="1382"/>
                </a:cubicBezTo>
                <a:cubicBezTo>
                  <a:pt x="1433" y="1382"/>
                  <a:pt x="1726" y="1089"/>
                  <a:pt x="1726" y="728"/>
                </a:cubicBezTo>
                <a:cubicBezTo>
                  <a:pt x="1726" y="366"/>
                  <a:pt x="1433" y="73"/>
                  <a:pt x="1072" y="73"/>
                </a:cubicBezTo>
                <a:close/>
                <a:moveTo>
                  <a:pt x="1072" y="1263"/>
                </a:moveTo>
                <a:cubicBezTo>
                  <a:pt x="750" y="1254"/>
                  <a:pt x="536" y="1306"/>
                  <a:pt x="399" y="1365"/>
                </a:cubicBezTo>
                <a:cubicBezTo>
                  <a:pt x="239" y="1434"/>
                  <a:pt x="196" y="1352"/>
                  <a:pt x="209" y="1260"/>
                </a:cubicBezTo>
                <a:cubicBezTo>
                  <a:pt x="265" y="872"/>
                  <a:pt x="424" y="379"/>
                  <a:pt x="867" y="232"/>
                </a:cubicBezTo>
                <a:cubicBezTo>
                  <a:pt x="867" y="232"/>
                  <a:pt x="867" y="232"/>
                  <a:pt x="867" y="232"/>
                </a:cubicBezTo>
                <a:cubicBezTo>
                  <a:pt x="1262" y="101"/>
                  <a:pt x="1607" y="431"/>
                  <a:pt x="1607" y="727"/>
                </a:cubicBezTo>
                <a:cubicBezTo>
                  <a:pt x="1607" y="1023"/>
                  <a:pt x="1367" y="1263"/>
                  <a:pt x="1072" y="126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67C91472-E912-487F-811D-E4702FAA633F}"/>
              </a:ext>
            </a:extLst>
          </p:cNvPr>
          <p:cNvSpPr/>
          <p:nvPr/>
        </p:nvSpPr>
        <p:spPr bwMode="auto">
          <a:xfrm>
            <a:off x="6261982" y="4518182"/>
            <a:ext cx="1111011" cy="1271447"/>
          </a:xfrm>
          <a:custGeom>
            <a:avLst/>
            <a:gdLst>
              <a:gd name="T0" fmla="*/ 790 w 1444"/>
              <a:gd name="T1" fmla="*/ 20 h 1653"/>
              <a:gd name="T2" fmla="*/ 172 w 1444"/>
              <a:gd name="T3" fmla="*/ 389 h 1653"/>
              <a:gd name="T4" fmla="*/ 58 w 1444"/>
              <a:gd name="T5" fmla="*/ 1653 h 1653"/>
              <a:gd name="T6" fmla="*/ 136 w 1444"/>
              <a:gd name="T7" fmla="*/ 1463 h 1653"/>
              <a:gd name="T8" fmla="*/ 783 w 1444"/>
              <a:gd name="T9" fmla="*/ 1329 h 1653"/>
              <a:gd name="T10" fmla="*/ 1444 w 1444"/>
              <a:gd name="T11" fmla="*/ 675 h 1653"/>
              <a:gd name="T12" fmla="*/ 790 w 1444"/>
              <a:gd name="T13" fmla="*/ 20 h 1653"/>
              <a:gd name="T14" fmla="*/ 792 w 1444"/>
              <a:gd name="T15" fmla="*/ 1206 h 1653"/>
              <a:gd name="T16" fmla="*/ 324 w 1444"/>
              <a:gd name="T17" fmla="*/ 1248 h 1653"/>
              <a:gd name="T18" fmla="*/ 170 w 1444"/>
              <a:gd name="T19" fmla="*/ 1129 h 1653"/>
              <a:gd name="T20" fmla="*/ 337 w 1444"/>
              <a:gd name="T21" fmla="*/ 389 h 1653"/>
              <a:gd name="T22" fmla="*/ 792 w 1444"/>
              <a:gd name="T23" fmla="*/ 135 h 1653"/>
              <a:gd name="T24" fmla="*/ 1328 w 1444"/>
              <a:gd name="T25" fmla="*/ 671 h 1653"/>
              <a:gd name="T26" fmla="*/ 792 w 1444"/>
              <a:gd name="T27" fmla="*/ 1206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44" h="1653">
                <a:moveTo>
                  <a:pt x="790" y="20"/>
                </a:moveTo>
                <a:cubicBezTo>
                  <a:pt x="453" y="39"/>
                  <a:pt x="262" y="224"/>
                  <a:pt x="172" y="389"/>
                </a:cubicBezTo>
                <a:cubicBezTo>
                  <a:pt x="0" y="703"/>
                  <a:pt x="0" y="1653"/>
                  <a:pt x="58" y="1653"/>
                </a:cubicBezTo>
                <a:cubicBezTo>
                  <a:pt x="99" y="1653"/>
                  <a:pt x="57" y="1579"/>
                  <a:pt x="136" y="1463"/>
                </a:cubicBezTo>
                <a:cubicBezTo>
                  <a:pt x="221" y="1338"/>
                  <a:pt x="783" y="1329"/>
                  <a:pt x="783" y="1329"/>
                </a:cubicBezTo>
                <a:cubicBezTo>
                  <a:pt x="1151" y="1329"/>
                  <a:pt x="1444" y="1036"/>
                  <a:pt x="1444" y="675"/>
                </a:cubicBezTo>
                <a:cubicBezTo>
                  <a:pt x="1444" y="313"/>
                  <a:pt x="1151" y="0"/>
                  <a:pt x="790" y="20"/>
                </a:cubicBezTo>
                <a:close/>
                <a:moveTo>
                  <a:pt x="792" y="1206"/>
                </a:moveTo>
                <a:cubicBezTo>
                  <a:pt x="582" y="1199"/>
                  <a:pt x="427" y="1223"/>
                  <a:pt x="324" y="1248"/>
                </a:cubicBezTo>
                <a:cubicBezTo>
                  <a:pt x="222" y="1273"/>
                  <a:pt x="170" y="1254"/>
                  <a:pt x="170" y="1129"/>
                </a:cubicBezTo>
                <a:cubicBezTo>
                  <a:pt x="170" y="923"/>
                  <a:pt x="204" y="603"/>
                  <a:pt x="337" y="389"/>
                </a:cubicBezTo>
                <a:cubicBezTo>
                  <a:pt x="432" y="237"/>
                  <a:pt x="600" y="135"/>
                  <a:pt x="792" y="135"/>
                </a:cubicBezTo>
                <a:cubicBezTo>
                  <a:pt x="1088" y="135"/>
                  <a:pt x="1328" y="375"/>
                  <a:pt x="1328" y="671"/>
                </a:cubicBezTo>
                <a:cubicBezTo>
                  <a:pt x="1328" y="966"/>
                  <a:pt x="1088" y="1206"/>
                  <a:pt x="792" y="120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9D3AFE5F-B57A-42B3-8988-E40523256824}"/>
              </a:ext>
            </a:extLst>
          </p:cNvPr>
          <p:cNvSpPr/>
          <p:nvPr/>
        </p:nvSpPr>
        <p:spPr bwMode="auto">
          <a:xfrm>
            <a:off x="5499654" y="1462088"/>
            <a:ext cx="1164707" cy="4340559"/>
          </a:xfrm>
          <a:custGeom>
            <a:avLst/>
            <a:gdLst>
              <a:gd name="T0" fmla="*/ 770 w 1514"/>
              <a:gd name="T1" fmla="*/ 0 h 5643"/>
              <a:gd name="T2" fmla="*/ 18 w 1514"/>
              <a:gd name="T3" fmla="*/ 745 h 5643"/>
              <a:gd name="T4" fmla="*/ 702 w 1514"/>
              <a:gd name="T5" fmla="*/ 2271 h 5643"/>
              <a:gd name="T6" fmla="*/ 723 w 1514"/>
              <a:gd name="T7" fmla="*/ 4798 h 5643"/>
              <a:gd name="T8" fmla="*/ 770 w 1514"/>
              <a:gd name="T9" fmla="*/ 5643 h 5643"/>
              <a:gd name="T10" fmla="*/ 816 w 1514"/>
              <a:gd name="T11" fmla="*/ 4803 h 5643"/>
              <a:gd name="T12" fmla="*/ 872 w 1514"/>
              <a:gd name="T13" fmla="*/ 2278 h 5643"/>
              <a:gd name="T14" fmla="*/ 1514 w 1514"/>
              <a:gd name="T15" fmla="*/ 745 h 5643"/>
              <a:gd name="T16" fmla="*/ 770 w 1514"/>
              <a:gd name="T17" fmla="*/ 0 h 5643"/>
              <a:gd name="T18" fmla="*/ 381 w 1514"/>
              <a:gd name="T19" fmla="*/ 1217 h 5643"/>
              <a:gd name="T20" fmla="*/ 159 w 1514"/>
              <a:gd name="T21" fmla="*/ 745 h 5643"/>
              <a:gd name="T22" fmla="*/ 770 w 1514"/>
              <a:gd name="T23" fmla="*/ 133 h 5643"/>
              <a:gd name="T24" fmla="*/ 1382 w 1514"/>
              <a:gd name="T25" fmla="*/ 745 h 5643"/>
              <a:gd name="T26" fmla="*/ 1048 w 1514"/>
              <a:gd name="T27" fmla="*/ 1311 h 5643"/>
              <a:gd name="T28" fmla="*/ 381 w 1514"/>
              <a:gd name="T29" fmla="*/ 1217 h 5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14" h="5643">
                <a:moveTo>
                  <a:pt x="770" y="0"/>
                </a:moveTo>
                <a:cubicBezTo>
                  <a:pt x="359" y="0"/>
                  <a:pt x="0" y="334"/>
                  <a:pt x="18" y="745"/>
                </a:cubicBezTo>
                <a:cubicBezTo>
                  <a:pt x="47" y="1432"/>
                  <a:pt x="656" y="1558"/>
                  <a:pt x="702" y="2271"/>
                </a:cubicBezTo>
                <a:cubicBezTo>
                  <a:pt x="736" y="2806"/>
                  <a:pt x="723" y="3445"/>
                  <a:pt x="723" y="4798"/>
                </a:cubicBezTo>
                <a:cubicBezTo>
                  <a:pt x="723" y="4939"/>
                  <a:pt x="734" y="5643"/>
                  <a:pt x="770" y="5643"/>
                </a:cubicBezTo>
                <a:cubicBezTo>
                  <a:pt x="807" y="5643"/>
                  <a:pt x="816" y="4943"/>
                  <a:pt x="816" y="4803"/>
                </a:cubicBezTo>
                <a:cubicBezTo>
                  <a:pt x="816" y="3462"/>
                  <a:pt x="842" y="2810"/>
                  <a:pt x="872" y="2278"/>
                </a:cubicBezTo>
                <a:cubicBezTo>
                  <a:pt x="912" y="1563"/>
                  <a:pt x="1514" y="1312"/>
                  <a:pt x="1514" y="745"/>
                </a:cubicBezTo>
                <a:cubicBezTo>
                  <a:pt x="1514" y="334"/>
                  <a:pt x="1181" y="0"/>
                  <a:pt x="770" y="0"/>
                </a:cubicBezTo>
                <a:close/>
                <a:moveTo>
                  <a:pt x="381" y="1217"/>
                </a:moveTo>
                <a:cubicBezTo>
                  <a:pt x="280" y="1111"/>
                  <a:pt x="159" y="935"/>
                  <a:pt x="159" y="745"/>
                </a:cubicBezTo>
                <a:cubicBezTo>
                  <a:pt x="159" y="407"/>
                  <a:pt x="432" y="133"/>
                  <a:pt x="770" y="133"/>
                </a:cubicBezTo>
                <a:cubicBezTo>
                  <a:pt x="1108" y="133"/>
                  <a:pt x="1382" y="407"/>
                  <a:pt x="1382" y="745"/>
                </a:cubicBezTo>
                <a:cubicBezTo>
                  <a:pt x="1382" y="829"/>
                  <a:pt x="1330" y="1116"/>
                  <a:pt x="1048" y="1311"/>
                </a:cubicBezTo>
                <a:cubicBezTo>
                  <a:pt x="822" y="1467"/>
                  <a:pt x="603" y="1448"/>
                  <a:pt x="381" y="12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2CCB5FA8-A16C-448E-8F60-AFEFA04DC40A}"/>
              </a:ext>
            </a:extLst>
          </p:cNvPr>
          <p:cNvGrpSpPr/>
          <p:nvPr/>
        </p:nvGrpSpPr>
        <p:grpSpPr>
          <a:xfrm>
            <a:off x="4995576" y="2663693"/>
            <a:ext cx="533332" cy="2607058"/>
            <a:chOff x="5009106" y="2594268"/>
            <a:chExt cx="533332" cy="2607058"/>
          </a:xfrm>
        </p:grpSpPr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12DAE10-DC89-4625-8487-BD80395BDAE3}"/>
                </a:ext>
              </a:extLst>
            </p:cNvPr>
            <p:cNvSpPr/>
            <p:nvPr/>
          </p:nvSpPr>
          <p:spPr bwMode="auto">
            <a:xfrm>
              <a:off x="5035660" y="3678222"/>
              <a:ext cx="442778" cy="425830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75F233AA-6A8F-4913-A27D-0E29C22A1B14}"/>
                </a:ext>
              </a:extLst>
            </p:cNvPr>
            <p:cNvSpPr/>
            <p:nvPr/>
          </p:nvSpPr>
          <p:spPr bwMode="auto">
            <a:xfrm>
              <a:off x="5099656" y="4775360"/>
              <a:ext cx="442782" cy="425966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9F155AA-AE47-4DD7-BA11-8CA24C5CC7AC}"/>
                </a:ext>
              </a:extLst>
            </p:cNvPr>
            <p:cNvSpPr/>
            <p:nvPr/>
          </p:nvSpPr>
          <p:spPr bwMode="auto">
            <a:xfrm>
              <a:off x="5009106" y="2594268"/>
              <a:ext cx="495886" cy="401374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cs typeface="+mn-ea"/>
                <a:sym typeface="+mn-lt"/>
              </a:endParaRPr>
            </a:p>
          </p:txBody>
        </p:sp>
      </p:grp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C4BD5AC9-EFE8-4908-8790-D1A0877F03AD}"/>
              </a:ext>
            </a:extLst>
          </p:cNvPr>
          <p:cNvSpPr/>
          <p:nvPr/>
        </p:nvSpPr>
        <p:spPr bwMode="auto">
          <a:xfrm>
            <a:off x="6711172" y="3747647"/>
            <a:ext cx="442778" cy="425830"/>
          </a:xfrm>
          <a:custGeom>
            <a:avLst/>
            <a:gdLst>
              <a:gd name="connsiteX0" fmla="*/ 61288 w 609549"/>
              <a:gd name="connsiteY0" fmla="*/ 383285 h 586216"/>
              <a:gd name="connsiteX1" fmla="*/ 71162 w 609549"/>
              <a:gd name="connsiteY1" fmla="*/ 387101 h 586216"/>
              <a:gd name="connsiteX2" fmla="*/ 120018 w 609549"/>
              <a:gd name="connsiteY2" fmla="*/ 435892 h 586216"/>
              <a:gd name="connsiteX3" fmla="*/ 120018 w 609549"/>
              <a:gd name="connsiteY3" fmla="*/ 454200 h 586216"/>
              <a:gd name="connsiteX4" fmla="*/ 56639 w 609549"/>
              <a:gd name="connsiteY4" fmla="*/ 517543 h 586216"/>
              <a:gd name="connsiteX5" fmla="*/ 35592 w 609549"/>
              <a:gd name="connsiteY5" fmla="*/ 513644 h 586216"/>
              <a:gd name="connsiteX6" fmla="*/ 51877 w 609549"/>
              <a:gd name="connsiteY6" fmla="*/ 388099 h 586216"/>
              <a:gd name="connsiteX7" fmla="*/ 61288 w 609549"/>
              <a:gd name="connsiteY7" fmla="*/ 383285 h 586216"/>
              <a:gd name="connsiteX8" fmla="*/ 235245 w 609549"/>
              <a:gd name="connsiteY8" fmla="*/ 302810 h 586216"/>
              <a:gd name="connsiteX9" fmla="*/ 306042 w 609549"/>
              <a:gd name="connsiteY9" fmla="*/ 373466 h 586216"/>
              <a:gd name="connsiteX10" fmla="*/ 258717 w 609549"/>
              <a:gd name="connsiteY10" fmla="*/ 420680 h 586216"/>
              <a:gd name="connsiteX11" fmla="*/ 230246 w 609549"/>
              <a:gd name="connsiteY11" fmla="*/ 550152 h 586216"/>
              <a:gd name="connsiteX12" fmla="*/ 92223 w 609549"/>
              <a:gd name="connsiteY12" fmla="*/ 575305 h 586216"/>
              <a:gd name="connsiteX13" fmla="*/ 88748 w 609549"/>
              <a:gd name="connsiteY13" fmla="*/ 556143 h 586216"/>
              <a:gd name="connsiteX14" fmla="*/ 165115 w 609549"/>
              <a:gd name="connsiteY14" fmla="*/ 479877 h 586216"/>
              <a:gd name="connsiteX15" fmla="*/ 165115 w 609549"/>
              <a:gd name="connsiteY15" fmla="*/ 446308 h 586216"/>
              <a:gd name="connsiteX16" fmla="*/ 88700 w 609549"/>
              <a:gd name="connsiteY16" fmla="*/ 369995 h 586216"/>
              <a:gd name="connsiteX17" fmla="*/ 92128 w 609549"/>
              <a:gd name="connsiteY17" fmla="*/ 350976 h 586216"/>
              <a:gd name="connsiteX18" fmla="*/ 189111 w 609549"/>
              <a:gd name="connsiteY18" fmla="*/ 348884 h 586216"/>
              <a:gd name="connsiteX19" fmla="*/ 257958 w 609549"/>
              <a:gd name="connsiteY19" fmla="*/ 161679 h 586216"/>
              <a:gd name="connsiteX20" fmla="*/ 317251 w 609549"/>
              <a:gd name="connsiteY20" fmla="*/ 220879 h 586216"/>
              <a:gd name="connsiteX21" fmla="*/ 388070 w 609549"/>
              <a:gd name="connsiteY21" fmla="*/ 291586 h 586216"/>
              <a:gd name="connsiteX22" fmla="*/ 604906 w 609549"/>
              <a:gd name="connsiteY22" fmla="*/ 508130 h 586216"/>
              <a:gd name="connsiteX23" fmla="*/ 604906 w 609549"/>
              <a:gd name="connsiteY23" fmla="*/ 530526 h 586216"/>
              <a:gd name="connsiteX24" fmla="*/ 556567 w 609549"/>
              <a:gd name="connsiteY24" fmla="*/ 578789 h 586216"/>
              <a:gd name="connsiteX25" fmla="*/ 545327 w 609549"/>
              <a:gd name="connsiteY25" fmla="*/ 583449 h 586216"/>
              <a:gd name="connsiteX26" fmla="*/ 534135 w 609549"/>
              <a:gd name="connsiteY26" fmla="*/ 578789 h 586216"/>
              <a:gd name="connsiteX27" fmla="*/ 317251 w 609549"/>
              <a:gd name="connsiteY27" fmla="*/ 362293 h 586216"/>
              <a:gd name="connsiteX28" fmla="*/ 246481 w 609549"/>
              <a:gd name="connsiteY28" fmla="*/ 291586 h 586216"/>
              <a:gd name="connsiteX29" fmla="*/ 187140 w 609549"/>
              <a:gd name="connsiteY29" fmla="*/ 232339 h 586216"/>
              <a:gd name="connsiteX30" fmla="*/ 58606 w 609549"/>
              <a:gd name="connsiteY30" fmla="*/ 160814 h 586216"/>
              <a:gd name="connsiteX31" fmla="*/ 126401 w 609549"/>
              <a:gd name="connsiteY31" fmla="*/ 228498 h 586216"/>
              <a:gd name="connsiteX32" fmla="*/ 111975 w 609549"/>
              <a:gd name="connsiteY32" fmla="*/ 242899 h 586216"/>
              <a:gd name="connsiteX33" fmla="*/ 119307 w 609549"/>
              <a:gd name="connsiteY33" fmla="*/ 250219 h 586216"/>
              <a:gd name="connsiteX34" fmla="*/ 119307 w 609549"/>
              <a:gd name="connsiteY34" fmla="*/ 277692 h 586216"/>
              <a:gd name="connsiteX35" fmla="*/ 115641 w 609549"/>
              <a:gd name="connsiteY35" fmla="*/ 281352 h 586216"/>
              <a:gd name="connsiteX36" fmla="*/ 88123 w 609549"/>
              <a:gd name="connsiteY36" fmla="*/ 281352 h 586216"/>
              <a:gd name="connsiteX37" fmla="*/ 5712 w 609549"/>
              <a:gd name="connsiteY37" fmla="*/ 199029 h 586216"/>
              <a:gd name="connsiteX38" fmla="*/ 5712 w 609549"/>
              <a:gd name="connsiteY38" fmla="*/ 171604 h 586216"/>
              <a:gd name="connsiteX39" fmla="*/ 9378 w 609549"/>
              <a:gd name="connsiteY39" fmla="*/ 167944 h 586216"/>
              <a:gd name="connsiteX40" fmla="*/ 36849 w 609549"/>
              <a:gd name="connsiteY40" fmla="*/ 167944 h 586216"/>
              <a:gd name="connsiteX41" fmla="*/ 44180 w 609549"/>
              <a:gd name="connsiteY41" fmla="*/ 175264 h 586216"/>
              <a:gd name="connsiteX42" fmla="*/ 585775 w 609549"/>
              <a:gd name="connsiteY42" fmla="*/ 66370 h 586216"/>
              <a:gd name="connsiteX43" fmla="*/ 595263 w 609549"/>
              <a:gd name="connsiteY43" fmla="*/ 73839 h 586216"/>
              <a:gd name="connsiteX44" fmla="*/ 578978 w 609549"/>
              <a:gd name="connsiteY44" fmla="*/ 199341 h 586216"/>
              <a:gd name="connsiteX45" fmla="*/ 559693 w 609549"/>
              <a:gd name="connsiteY45" fmla="*/ 200387 h 586216"/>
              <a:gd name="connsiteX46" fmla="*/ 510789 w 609549"/>
              <a:gd name="connsiteY46" fmla="*/ 151612 h 586216"/>
              <a:gd name="connsiteX47" fmla="*/ 510789 w 609549"/>
              <a:gd name="connsiteY47" fmla="*/ 133262 h 586216"/>
              <a:gd name="connsiteX48" fmla="*/ 574216 w 609549"/>
              <a:gd name="connsiteY48" fmla="*/ 69988 h 586216"/>
              <a:gd name="connsiteX49" fmla="*/ 585775 w 609549"/>
              <a:gd name="connsiteY49" fmla="*/ 66370 h 586216"/>
              <a:gd name="connsiteX50" fmla="*/ 158702 w 609549"/>
              <a:gd name="connsiteY50" fmla="*/ 26758 h 586216"/>
              <a:gd name="connsiteX51" fmla="*/ 172463 w 609549"/>
              <a:gd name="connsiteY51" fmla="*/ 32464 h 586216"/>
              <a:gd name="connsiteX52" fmla="*/ 179701 w 609549"/>
              <a:gd name="connsiteY52" fmla="*/ 39691 h 586216"/>
              <a:gd name="connsiteX53" fmla="*/ 246935 w 609549"/>
              <a:gd name="connsiteY53" fmla="*/ 106831 h 586216"/>
              <a:gd name="connsiteX54" fmla="*/ 254886 w 609549"/>
              <a:gd name="connsiteY54" fmla="*/ 114819 h 586216"/>
              <a:gd name="connsiteX55" fmla="*/ 257600 w 609549"/>
              <a:gd name="connsiteY55" fmla="*/ 138879 h 586216"/>
              <a:gd name="connsiteX56" fmla="*/ 254886 w 609549"/>
              <a:gd name="connsiteY56" fmla="*/ 142255 h 586216"/>
              <a:gd name="connsiteX57" fmla="*/ 252315 w 609549"/>
              <a:gd name="connsiteY57" fmla="*/ 144823 h 586216"/>
              <a:gd name="connsiteX58" fmla="*/ 246696 w 609549"/>
              <a:gd name="connsiteY58" fmla="*/ 150434 h 586216"/>
              <a:gd name="connsiteX59" fmla="*/ 175892 w 609549"/>
              <a:gd name="connsiteY59" fmla="*/ 221140 h 586216"/>
              <a:gd name="connsiteX60" fmla="*/ 172463 w 609549"/>
              <a:gd name="connsiteY60" fmla="*/ 224611 h 586216"/>
              <a:gd name="connsiteX61" fmla="*/ 170130 w 609549"/>
              <a:gd name="connsiteY61" fmla="*/ 226560 h 586216"/>
              <a:gd name="connsiteX62" fmla="*/ 162274 w 609549"/>
              <a:gd name="connsiteY62" fmla="*/ 229936 h 586216"/>
              <a:gd name="connsiteX63" fmla="*/ 158702 w 609549"/>
              <a:gd name="connsiteY63" fmla="*/ 230269 h 586216"/>
              <a:gd name="connsiteX64" fmla="*/ 144942 w 609549"/>
              <a:gd name="connsiteY64" fmla="*/ 224611 h 586216"/>
              <a:gd name="connsiteX65" fmla="*/ 137609 w 609549"/>
              <a:gd name="connsiteY65" fmla="*/ 217288 h 586216"/>
              <a:gd name="connsiteX66" fmla="*/ 69804 w 609549"/>
              <a:gd name="connsiteY66" fmla="*/ 149578 h 586216"/>
              <a:gd name="connsiteX67" fmla="*/ 62519 w 609549"/>
              <a:gd name="connsiteY67" fmla="*/ 142255 h 586216"/>
              <a:gd name="connsiteX68" fmla="*/ 62519 w 609549"/>
              <a:gd name="connsiteY68" fmla="*/ 114819 h 586216"/>
              <a:gd name="connsiteX69" fmla="*/ 144942 w 609549"/>
              <a:gd name="connsiteY69" fmla="*/ 32464 h 586216"/>
              <a:gd name="connsiteX70" fmla="*/ 158702 w 609549"/>
              <a:gd name="connsiteY70" fmla="*/ 26758 h 586216"/>
              <a:gd name="connsiteX71" fmla="*/ 254809 w 609549"/>
              <a:gd name="connsiteY71" fmla="*/ 6542 h 586216"/>
              <a:gd name="connsiteX72" fmla="*/ 321015 w 609549"/>
              <a:gd name="connsiteY72" fmla="*/ 29913 h 586216"/>
              <a:gd name="connsiteX73" fmla="*/ 260017 w 609549"/>
              <a:gd name="connsiteY73" fmla="*/ 97465 h 586216"/>
              <a:gd name="connsiteX74" fmla="*/ 193067 w 609549"/>
              <a:gd name="connsiteY74" fmla="*/ 30626 h 586216"/>
              <a:gd name="connsiteX75" fmla="*/ 254809 w 609549"/>
              <a:gd name="connsiteY75" fmla="*/ 6542 h 586216"/>
              <a:gd name="connsiteX76" fmla="*/ 503105 w 609549"/>
              <a:gd name="connsiteY76" fmla="*/ 953 h 586216"/>
              <a:gd name="connsiteX77" fmla="*/ 538560 w 609549"/>
              <a:gd name="connsiteY77" fmla="*/ 10911 h 586216"/>
              <a:gd name="connsiteX78" fmla="*/ 542083 w 609549"/>
              <a:gd name="connsiteY78" fmla="*/ 30073 h 586216"/>
              <a:gd name="connsiteX79" fmla="*/ 465709 w 609549"/>
              <a:gd name="connsiteY79" fmla="*/ 106341 h 586216"/>
              <a:gd name="connsiteX80" fmla="*/ 465709 w 609549"/>
              <a:gd name="connsiteY80" fmla="*/ 139911 h 586216"/>
              <a:gd name="connsiteX81" fmla="*/ 542131 w 609549"/>
              <a:gd name="connsiteY81" fmla="*/ 216227 h 586216"/>
              <a:gd name="connsiteX82" fmla="*/ 538655 w 609549"/>
              <a:gd name="connsiteY82" fmla="*/ 235246 h 586216"/>
              <a:gd name="connsiteX83" fmla="*/ 442187 w 609549"/>
              <a:gd name="connsiteY83" fmla="*/ 237528 h 586216"/>
              <a:gd name="connsiteX84" fmla="*/ 399238 w 609549"/>
              <a:gd name="connsiteY84" fmla="*/ 280370 h 586216"/>
              <a:gd name="connsiteX85" fmla="*/ 328482 w 609549"/>
              <a:gd name="connsiteY85" fmla="*/ 209712 h 586216"/>
              <a:gd name="connsiteX86" fmla="*/ 372240 w 609549"/>
              <a:gd name="connsiteY86" fmla="*/ 166015 h 586216"/>
              <a:gd name="connsiteX87" fmla="*/ 400571 w 609549"/>
              <a:gd name="connsiteY87" fmla="*/ 36064 h 586216"/>
              <a:gd name="connsiteX88" fmla="*/ 503105 w 609549"/>
              <a:gd name="connsiteY88" fmla="*/ 953 h 5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609549" h="586216">
                <a:moveTo>
                  <a:pt x="61288" y="383285"/>
                </a:moveTo>
                <a:cubicBezTo>
                  <a:pt x="64829" y="383106"/>
                  <a:pt x="68448" y="384367"/>
                  <a:pt x="71162" y="387101"/>
                </a:cubicBezTo>
                <a:lnTo>
                  <a:pt x="120018" y="435892"/>
                </a:lnTo>
                <a:cubicBezTo>
                  <a:pt x="125113" y="440933"/>
                  <a:pt x="125113" y="449160"/>
                  <a:pt x="120018" y="454200"/>
                </a:cubicBezTo>
                <a:lnTo>
                  <a:pt x="56639" y="517543"/>
                </a:lnTo>
                <a:cubicBezTo>
                  <a:pt x="50211" y="523963"/>
                  <a:pt x="39211" y="522013"/>
                  <a:pt x="35592" y="513644"/>
                </a:cubicBezTo>
                <a:cubicBezTo>
                  <a:pt x="17783" y="472794"/>
                  <a:pt x="23211" y="424288"/>
                  <a:pt x="51877" y="388099"/>
                </a:cubicBezTo>
                <a:cubicBezTo>
                  <a:pt x="54282" y="385079"/>
                  <a:pt x="57746" y="383463"/>
                  <a:pt x="61288" y="383285"/>
                </a:cubicBezTo>
                <a:close/>
                <a:moveTo>
                  <a:pt x="235245" y="302810"/>
                </a:moveTo>
                <a:lnTo>
                  <a:pt x="306042" y="373466"/>
                </a:lnTo>
                <a:lnTo>
                  <a:pt x="258717" y="420680"/>
                </a:lnTo>
                <a:cubicBezTo>
                  <a:pt x="274667" y="464329"/>
                  <a:pt x="265192" y="515300"/>
                  <a:pt x="230246" y="550152"/>
                </a:cubicBezTo>
                <a:cubicBezTo>
                  <a:pt x="192919" y="587430"/>
                  <a:pt x="137644" y="595798"/>
                  <a:pt x="92223" y="575305"/>
                </a:cubicBezTo>
                <a:cubicBezTo>
                  <a:pt x="84701" y="571882"/>
                  <a:pt x="82892" y="561992"/>
                  <a:pt x="88748" y="556143"/>
                </a:cubicBezTo>
                <a:lnTo>
                  <a:pt x="165115" y="479877"/>
                </a:lnTo>
                <a:cubicBezTo>
                  <a:pt x="174399" y="470605"/>
                  <a:pt x="174399" y="455580"/>
                  <a:pt x="165115" y="446308"/>
                </a:cubicBezTo>
                <a:lnTo>
                  <a:pt x="88700" y="369995"/>
                </a:lnTo>
                <a:cubicBezTo>
                  <a:pt x="82844" y="364194"/>
                  <a:pt x="84653" y="354399"/>
                  <a:pt x="92128" y="350976"/>
                </a:cubicBezTo>
                <a:cubicBezTo>
                  <a:pt x="122789" y="337092"/>
                  <a:pt x="157973" y="336379"/>
                  <a:pt x="189111" y="348884"/>
                </a:cubicBezTo>
                <a:close/>
                <a:moveTo>
                  <a:pt x="257958" y="161679"/>
                </a:moveTo>
                <a:lnTo>
                  <a:pt x="317251" y="220879"/>
                </a:lnTo>
                <a:lnTo>
                  <a:pt x="388070" y="291586"/>
                </a:lnTo>
                <a:lnTo>
                  <a:pt x="604906" y="508130"/>
                </a:lnTo>
                <a:cubicBezTo>
                  <a:pt x="611097" y="514311"/>
                  <a:pt x="611097" y="524344"/>
                  <a:pt x="604906" y="530526"/>
                </a:cubicBezTo>
                <a:lnTo>
                  <a:pt x="556567" y="578789"/>
                </a:lnTo>
                <a:cubicBezTo>
                  <a:pt x="553471" y="581880"/>
                  <a:pt x="549423" y="583449"/>
                  <a:pt x="545327" y="583449"/>
                </a:cubicBezTo>
                <a:cubicBezTo>
                  <a:pt x="541279" y="583449"/>
                  <a:pt x="537231" y="581880"/>
                  <a:pt x="534135" y="578789"/>
                </a:cubicBezTo>
                <a:lnTo>
                  <a:pt x="317251" y="362293"/>
                </a:lnTo>
                <a:lnTo>
                  <a:pt x="246481" y="291586"/>
                </a:lnTo>
                <a:lnTo>
                  <a:pt x="187140" y="232339"/>
                </a:lnTo>
                <a:close/>
                <a:moveTo>
                  <a:pt x="58606" y="160814"/>
                </a:moveTo>
                <a:lnTo>
                  <a:pt x="126401" y="228498"/>
                </a:lnTo>
                <a:lnTo>
                  <a:pt x="111975" y="242899"/>
                </a:lnTo>
                <a:lnTo>
                  <a:pt x="119307" y="250219"/>
                </a:lnTo>
                <a:cubicBezTo>
                  <a:pt x="126877" y="257824"/>
                  <a:pt x="126877" y="270087"/>
                  <a:pt x="119307" y="277692"/>
                </a:cubicBezTo>
                <a:lnTo>
                  <a:pt x="115641" y="281352"/>
                </a:lnTo>
                <a:cubicBezTo>
                  <a:pt x="108024" y="288909"/>
                  <a:pt x="95741" y="288909"/>
                  <a:pt x="88123" y="281352"/>
                </a:cubicBezTo>
                <a:lnTo>
                  <a:pt x="5712" y="199029"/>
                </a:lnTo>
                <a:cubicBezTo>
                  <a:pt x="-1905" y="191424"/>
                  <a:pt x="-1905" y="179161"/>
                  <a:pt x="5712" y="171604"/>
                </a:cubicBezTo>
                <a:lnTo>
                  <a:pt x="9378" y="167944"/>
                </a:lnTo>
                <a:cubicBezTo>
                  <a:pt x="16948" y="160339"/>
                  <a:pt x="29231" y="160339"/>
                  <a:pt x="36849" y="167944"/>
                </a:cubicBezTo>
                <a:lnTo>
                  <a:pt x="44180" y="175264"/>
                </a:lnTo>
                <a:close/>
                <a:moveTo>
                  <a:pt x="585775" y="66370"/>
                </a:moveTo>
                <a:cubicBezTo>
                  <a:pt x="589775" y="67101"/>
                  <a:pt x="593430" y="69680"/>
                  <a:pt x="595263" y="73839"/>
                </a:cubicBezTo>
                <a:cubicBezTo>
                  <a:pt x="613072" y="114675"/>
                  <a:pt x="607644" y="163212"/>
                  <a:pt x="578978" y="199341"/>
                </a:cubicBezTo>
                <a:cubicBezTo>
                  <a:pt x="574168" y="205379"/>
                  <a:pt x="565121" y="205854"/>
                  <a:pt x="559693" y="200387"/>
                </a:cubicBezTo>
                <a:lnTo>
                  <a:pt x="510789" y="151612"/>
                </a:lnTo>
                <a:cubicBezTo>
                  <a:pt x="505742" y="146526"/>
                  <a:pt x="505742" y="138349"/>
                  <a:pt x="510789" y="133262"/>
                </a:cubicBezTo>
                <a:lnTo>
                  <a:pt x="574216" y="69988"/>
                </a:lnTo>
                <a:cubicBezTo>
                  <a:pt x="577430" y="66756"/>
                  <a:pt x="581775" y="65639"/>
                  <a:pt x="585775" y="66370"/>
                </a:cubicBezTo>
                <a:close/>
                <a:moveTo>
                  <a:pt x="158702" y="26758"/>
                </a:moveTo>
                <a:cubicBezTo>
                  <a:pt x="163655" y="26758"/>
                  <a:pt x="168654" y="28660"/>
                  <a:pt x="172463" y="32464"/>
                </a:cubicBezTo>
                <a:lnTo>
                  <a:pt x="179701" y="39691"/>
                </a:lnTo>
                <a:lnTo>
                  <a:pt x="246935" y="106831"/>
                </a:lnTo>
                <a:lnTo>
                  <a:pt x="254886" y="114819"/>
                </a:lnTo>
                <a:cubicBezTo>
                  <a:pt x="261457" y="121334"/>
                  <a:pt x="262362" y="131414"/>
                  <a:pt x="257600" y="138879"/>
                </a:cubicBezTo>
                <a:cubicBezTo>
                  <a:pt x="256839" y="140068"/>
                  <a:pt x="255934" y="141209"/>
                  <a:pt x="254886" y="142255"/>
                </a:cubicBezTo>
                <a:lnTo>
                  <a:pt x="252315" y="144823"/>
                </a:lnTo>
                <a:lnTo>
                  <a:pt x="246696" y="150434"/>
                </a:lnTo>
                <a:lnTo>
                  <a:pt x="175892" y="221140"/>
                </a:lnTo>
                <a:lnTo>
                  <a:pt x="172463" y="224611"/>
                </a:lnTo>
                <a:cubicBezTo>
                  <a:pt x="171702" y="225324"/>
                  <a:pt x="170940" y="225990"/>
                  <a:pt x="170130" y="226560"/>
                </a:cubicBezTo>
                <a:cubicBezTo>
                  <a:pt x="167749" y="228319"/>
                  <a:pt x="165083" y="229413"/>
                  <a:pt x="162274" y="229936"/>
                </a:cubicBezTo>
                <a:cubicBezTo>
                  <a:pt x="161083" y="230174"/>
                  <a:pt x="159893" y="230269"/>
                  <a:pt x="158702" y="230269"/>
                </a:cubicBezTo>
                <a:cubicBezTo>
                  <a:pt x="153703" y="230269"/>
                  <a:pt x="148751" y="228367"/>
                  <a:pt x="144942" y="224611"/>
                </a:cubicBezTo>
                <a:lnTo>
                  <a:pt x="137609" y="217288"/>
                </a:lnTo>
                <a:lnTo>
                  <a:pt x="69804" y="149578"/>
                </a:lnTo>
                <a:lnTo>
                  <a:pt x="62519" y="142255"/>
                </a:lnTo>
                <a:cubicBezTo>
                  <a:pt x="54900" y="134647"/>
                  <a:pt x="54900" y="122380"/>
                  <a:pt x="62519" y="114819"/>
                </a:cubicBezTo>
                <a:lnTo>
                  <a:pt x="144942" y="32464"/>
                </a:lnTo>
                <a:cubicBezTo>
                  <a:pt x="148751" y="28660"/>
                  <a:pt x="153750" y="26758"/>
                  <a:pt x="158702" y="26758"/>
                </a:cubicBezTo>
                <a:close/>
                <a:moveTo>
                  <a:pt x="254809" y="6542"/>
                </a:moveTo>
                <a:cubicBezTo>
                  <a:pt x="277279" y="4029"/>
                  <a:pt x="300492" y="9424"/>
                  <a:pt x="321015" y="29913"/>
                </a:cubicBezTo>
                <a:cubicBezTo>
                  <a:pt x="380347" y="89193"/>
                  <a:pt x="337205" y="46124"/>
                  <a:pt x="260017" y="97465"/>
                </a:cubicBezTo>
                <a:lnTo>
                  <a:pt x="193067" y="30626"/>
                </a:lnTo>
                <a:cubicBezTo>
                  <a:pt x="210614" y="19479"/>
                  <a:pt x="232340" y="9056"/>
                  <a:pt x="254809" y="6542"/>
                </a:cubicBezTo>
                <a:close/>
                <a:moveTo>
                  <a:pt x="503105" y="953"/>
                </a:moveTo>
                <a:cubicBezTo>
                  <a:pt x="515252" y="2468"/>
                  <a:pt x="527216" y="5788"/>
                  <a:pt x="538560" y="10911"/>
                </a:cubicBezTo>
                <a:cubicBezTo>
                  <a:pt x="546131" y="14334"/>
                  <a:pt x="547940" y="24224"/>
                  <a:pt x="542083" y="30073"/>
                </a:cubicBezTo>
                <a:lnTo>
                  <a:pt x="465709" y="106341"/>
                </a:lnTo>
                <a:cubicBezTo>
                  <a:pt x="456424" y="115613"/>
                  <a:pt x="456424" y="130639"/>
                  <a:pt x="465709" y="139911"/>
                </a:cubicBezTo>
                <a:lnTo>
                  <a:pt x="542131" y="216227"/>
                </a:lnTo>
                <a:cubicBezTo>
                  <a:pt x="547940" y="222028"/>
                  <a:pt x="546178" y="231823"/>
                  <a:pt x="538655" y="235246"/>
                </a:cubicBezTo>
                <a:cubicBezTo>
                  <a:pt x="508181" y="249035"/>
                  <a:pt x="473184" y="249844"/>
                  <a:pt x="442187" y="237528"/>
                </a:cubicBezTo>
                <a:lnTo>
                  <a:pt x="399238" y="280370"/>
                </a:lnTo>
                <a:lnTo>
                  <a:pt x="328482" y="209712"/>
                </a:lnTo>
                <a:lnTo>
                  <a:pt x="372240" y="166015"/>
                </a:lnTo>
                <a:cubicBezTo>
                  <a:pt x="356051" y="122270"/>
                  <a:pt x="365527" y="71060"/>
                  <a:pt x="400571" y="36064"/>
                </a:cubicBezTo>
                <a:cubicBezTo>
                  <a:pt x="428569" y="8106"/>
                  <a:pt x="466664" y="-3592"/>
                  <a:pt x="503105" y="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DFDA3273-052D-4705-99D2-9DC5D8131597}"/>
              </a:ext>
            </a:extLst>
          </p:cNvPr>
          <p:cNvSpPr/>
          <p:nvPr/>
        </p:nvSpPr>
        <p:spPr bwMode="auto">
          <a:xfrm>
            <a:off x="6575895" y="4844785"/>
            <a:ext cx="442782" cy="425966"/>
          </a:xfrm>
          <a:custGeom>
            <a:avLst/>
            <a:gdLst>
              <a:gd name="connsiteX0" fmla="*/ 195114 w 608814"/>
              <a:gd name="connsiteY0" fmla="*/ 351627 h 585693"/>
              <a:gd name="connsiteX1" fmla="*/ 258290 w 608814"/>
              <a:gd name="connsiteY1" fmla="*/ 351627 h 585693"/>
              <a:gd name="connsiteX2" fmla="*/ 282731 w 608814"/>
              <a:gd name="connsiteY2" fmla="*/ 376018 h 585693"/>
              <a:gd name="connsiteX3" fmla="*/ 282731 w 608814"/>
              <a:gd name="connsiteY3" fmla="*/ 561210 h 585693"/>
              <a:gd name="connsiteX4" fmla="*/ 258290 w 608814"/>
              <a:gd name="connsiteY4" fmla="*/ 585693 h 585693"/>
              <a:gd name="connsiteX5" fmla="*/ 195114 w 608814"/>
              <a:gd name="connsiteY5" fmla="*/ 585693 h 585693"/>
              <a:gd name="connsiteX6" fmla="*/ 170673 w 608814"/>
              <a:gd name="connsiteY6" fmla="*/ 561210 h 585693"/>
              <a:gd name="connsiteX7" fmla="*/ 170673 w 608814"/>
              <a:gd name="connsiteY7" fmla="*/ 376018 h 585693"/>
              <a:gd name="connsiteX8" fmla="*/ 195114 w 608814"/>
              <a:gd name="connsiteY8" fmla="*/ 351627 h 585693"/>
              <a:gd name="connsiteX9" fmla="*/ 358100 w 608814"/>
              <a:gd name="connsiteY9" fmla="*/ 249872 h 585693"/>
              <a:gd name="connsiteX10" fmla="*/ 421316 w 608814"/>
              <a:gd name="connsiteY10" fmla="*/ 249872 h 585693"/>
              <a:gd name="connsiteX11" fmla="*/ 445737 w 608814"/>
              <a:gd name="connsiteY11" fmla="*/ 274267 h 585693"/>
              <a:gd name="connsiteX12" fmla="*/ 445737 w 608814"/>
              <a:gd name="connsiteY12" fmla="*/ 561206 h 585693"/>
              <a:gd name="connsiteX13" fmla="*/ 421316 w 608814"/>
              <a:gd name="connsiteY13" fmla="*/ 585693 h 585693"/>
              <a:gd name="connsiteX14" fmla="*/ 358100 w 608814"/>
              <a:gd name="connsiteY14" fmla="*/ 585693 h 585693"/>
              <a:gd name="connsiteX15" fmla="*/ 333679 w 608814"/>
              <a:gd name="connsiteY15" fmla="*/ 561206 h 585693"/>
              <a:gd name="connsiteX16" fmla="*/ 333679 w 608814"/>
              <a:gd name="connsiteY16" fmla="*/ 274267 h 585693"/>
              <a:gd name="connsiteX17" fmla="*/ 358100 w 608814"/>
              <a:gd name="connsiteY17" fmla="*/ 249872 h 585693"/>
              <a:gd name="connsiteX18" fmla="*/ 140260 w 608814"/>
              <a:gd name="connsiteY18" fmla="*/ 224680 h 585693"/>
              <a:gd name="connsiteX19" fmla="*/ 191844 w 608814"/>
              <a:gd name="connsiteY19" fmla="*/ 276122 h 585693"/>
              <a:gd name="connsiteX20" fmla="*/ 140260 w 608814"/>
              <a:gd name="connsiteY20" fmla="*/ 327564 h 585693"/>
              <a:gd name="connsiteX21" fmla="*/ 88676 w 608814"/>
              <a:gd name="connsiteY21" fmla="*/ 276122 h 585693"/>
              <a:gd name="connsiteX22" fmla="*/ 140260 w 608814"/>
              <a:gd name="connsiteY22" fmla="*/ 224680 h 585693"/>
              <a:gd name="connsiteX23" fmla="*/ 521177 w 608814"/>
              <a:gd name="connsiteY23" fmla="*/ 148117 h 585693"/>
              <a:gd name="connsiteX24" fmla="*/ 584301 w 608814"/>
              <a:gd name="connsiteY24" fmla="*/ 148117 h 585693"/>
              <a:gd name="connsiteX25" fmla="*/ 608814 w 608814"/>
              <a:gd name="connsiteY25" fmla="*/ 172601 h 585693"/>
              <a:gd name="connsiteX26" fmla="*/ 608814 w 608814"/>
              <a:gd name="connsiteY26" fmla="*/ 561209 h 585693"/>
              <a:gd name="connsiteX27" fmla="*/ 584301 w 608814"/>
              <a:gd name="connsiteY27" fmla="*/ 585693 h 585693"/>
              <a:gd name="connsiteX28" fmla="*/ 521177 w 608814"/>
              <a:gd name="connsiteY28" fmla="*/ 585693 h 585693"/>
              <a:gd name="connsiteX29" fmla="*/ 496756 w 608814"/>
              <a:gd name="connsiteY29" fmla="*/ 561209 h 585693"/>
              <a:gd name="connsiteX30" fmla="*/ 496756 w 608814"/>
              <a:gd name="connsiteY30" fmla="*/ 172601 h 585693"/>
              <a:gd name="connsiteX31" fmla="*/ 521177 w 608814"/>
              <a:gd name="connsiteY31" fmla="*/ 148117 h 585693"/>
              <a:gd name="connsiteX32" fmla="*/ 116229 w 608814"/>
              <a:gd name="connsiteY32" fmla="*/ 131322 h 585693"/>
              <a:gd name="connsiteX33" fmla="*/ 164246 w 608814"/>
              <a:gd name="connsiteY33" fmla="*/ 131322 h 585693"/>
              <a:gd name="connsiteX34" fmla="*/ 184061 w 608814"/>
              <a:gd name="connsiteY34" fmla="*/ 151113 h 585693"/>
              <a:gd name="connsiteX35" fmla="*/ 184061 w 608814"/>
              <a:gd name="connsiteY35" fmla="*/ 171457 h 585693"/>
              <a:gd name="connsiteX36" fmla="*/ 208669 w 608814"/>
              <a:gd name="connsiteY36" fmla="*/ 186094 h 585693"/>
              <a:gd name="connsiteX37" fmla="*/ 226641 w 608814"/>
              <a:gd name="connsiteY37" fmla="*/ 175692 h 585693"/>
              <a:gd name="connsiteX38" fmla="*/ 253737 w 608814"/>
              <a:gd name="connsiteY38" fmla="*/ 182964 h 585693"/>
              <a:gd name="connsiteX39" fmla="*/ 277792 w 608814"/>
              <a:gd name="connsiteY39" fmla="*/ 224572 h 585693"/>
              <a:gd name="connsiteX40" fmla="*/ 279727 w 608814"/>
              <a:gd name="connsiteY40" fmla="*/ 239577 h 585693"/>
              <a:gd name="connsiteX41" fmla="*/ 270511 w 608814"/>
              <a:gd name="connsiteY41" fmla="*/ 251544 h 585693"/>
              <a:gd name="connsiteX42" fmla="*/ 252355 w 608814"/>
              <a:gd name="connsiteY42" fmla="*/ 262038 h 585693"/>
              <a:gd name="connsiteX43" fmla="*/ 253829 w 608814"/>
              <a:gd name="connsiteY43" fmla="*/ 276122 h 585693"/>
              <a:gd name="connsiteX44" fmla="*/ 252355 w 608814"/>
              <a:gd name="connsiteY44" fmla="*/ 290206 h 585693"/>
              <a:gd name="connsiteX45" fmla="*/ 270511 w 608814"/>
              <a:gd name="connsiteY45" fmla="*/ 300700 h 585693"/>
              <a:gd name="connsiteX46" fmla="*/ 278714 w 608814"/>
              <a:gd name="connsiteY46" fmla="*/ 325094 h 585693"/>
              <a:gd name="connsiteX47" fmla="*/ 258253 w 608814"/>
              <a:gd name="connsiteY47" fmla="*/ 321136 h 585693"/>
              <a:gd name="connsiteX48" fmla="*/ 195858 w 608814"/>
              <a:gd name="connsiteY48" fmla="*/ 321136 h 585693"/>
              <a:gd name="connsiteX49" fmla="*/ 212171 w 608814"/>
              <a:gd name="connsiteY49" fmla="*/ 276122 h 585693"/>
              <a:gd name="connsiteX50" fmla="*/ 140191 w 608814"/>
              <a:gd name="connsiteY50" fmla="*/ 204320 h 585693"/>
              <a:gd name="connsiteX51" fmla="*/ 68304 w 608814"/>
              <a:gd name="connsiteY51" fmla="*/ 276122 h 585693"/>
              <a:gd name="connsiteX52" fmla="*/ 140191 w 608814"/>
              <a:gd name="connsiteY52" fmla="*/ 348016 h 585693"/>
              <a:gd name="connsiteX53" fmla="*/ 148486 w 608814"/>
              <a:gd name="connsiteY53" fmla="*/ 347095 h 585693"/>
              <a:gd name="connsiteX54" fmla="*/ 140099 w 608814"/>
              <a:gd name="connsiteY54" fmla="*/ 376000 h 585693"/>
              <a:gd name="connsiteX55" fmla="*/ 140099 w 608814"/>
              <a:gd name="connsiteY55" fmla="*/ 420922 h 585693"/>
              <a:gd name="connsiteX56" fmla="*/ 116229 w 608814"/>
              <a:gd name="connsiteY56" fmla="*/ 420922 h 585693"/>
              <a:gd name="connsiteX57" fmla="*/ 96413 w 608814"/>
              <a:gd name="connsiteY57" fmla="*/ 401131 h 585693"/>
              <a:gd name="connsiteX58" fmla="*/ 96413 w 608814"/>
              <a:gd name="connsiteY58" fmla="*/ 380787 h 585693"/>
              <a:gd name="connsiteX59" fmla="*/ 71806 w 608814"/>
              <a:gd name="connsiteY59" fmla="*/ 366150 h 585693"/>
              <a:gd name="connsiteX60" fmla="*/ 53742 w 608814"/>
              <a:gd name="connsiteY60" fmla="*/ 376552 h 585693"/>
              <a:gd name="connsiteX61" fmla="*/ 38719 w 608814"/>
              <a:gd name="connsiteY61" fmla="*/ 378577 h 585693"/>
              <a:gd name="connsiteX62" fmla="*/ 26738 w 608814"/>
              <a:gd name="connsiteY62" fmla="*/ 369372 h 585693"/>
              <a:gd name="connsiteX63" fmla="*/ 2683 w 608814"/>
              <a:gd name="connsiteY63" fmla="*/ 327764 h 585693"/>
              <a:gd name="connsiteX64" fmla="*/ 9872 w 608814"/>
              <a:gd name="connsiteY64" fmla="*/ 300700 h 585693"/>
              <a:gd name="connsiteX65" fmla="*/ 28120 w 608814"/>
              <a:gd name="connsiteY65" fmla="*/ 290206 h 585693"/>
              <a:gd name="connsiteX66" fmla="*/ 26645 w 608814"/>
              <a:gd name="connsiteY66" fmla="*/ 276122 h 585693"/>
              <a:gd name="connsiteX67" fmla="*/ 28120 w 608814"/>
              <a:gd name="connsiteY67" fmla="*/ 262038 h 585693"/>
              <a:gd name="connsiteX68" fmla="*/ 9872 w 608814"/>
              <a:gd name="connsiteY68" fmla="*/ 251544 h 585693"/>
              <a:gd name="connsiteX69" fmla="*/ 2683 w 608814"/>
              <a:gd name="connsiteY69" fmla="*/ 224572 h 585693"/>
              <a:gd name="connsiteX70" fmla="*/ 26738 w 608814"/>
              <a:gd name="connsiteY70" fmla="*/ 182964 h 585693"/>
              <a:gd name="connsiteX71" fmla="*/ 38719 w 608814"/>
              <a:gd name="connsiteY71" fmla="*/ 173759 h 585693"/>
              <a:gd name="connsiteX72" fmla="*/ 53742 w 608814"/>
              <a:gd name="connsiteY72" fmla="*/ 175692 h 585693"/>
              <a:gd name="connsiteX73" fmla="*/ 71806 w 608814"/>
              <a:gd name="connsiteY73" fmla="*/ 186094 h 585693"/>
              <a:gd name="connsiteX74" fmla="*/ 96413 w 608814"/>
              <a:gd name="connsiteY74" fmla="*/ 171457 h 585693"/>
              <a:gd name="connsiteX75" fmla="*/ 96413 w 608814"/>
              <a:gd name="connsiteY75" fmla="*/ 151113 h 585693"/>
              <a:gd name="connsiteX76" fmla="*/ 116229 w 608814"/>
              <a:gd name="connsiteY76" fmla="*/ 131322 h 585693"/>
              <a:gd name="connsiteX77" fmla="*/ 445756 w 608814"/>
              <a:gd name="connsiteY77" fmla="*/ 83476 h 585693"/>
              <a:gd name="connsiteX78" fmla="*/ 414140 w 608814"/>
              <a:gd name="connsiteY78" fmla="*/ 115044 h 585693"/>
              <a:gd name="connsiteX79" fmla="*/ 445756 w 608814"/>
              <a:gd name="connsiteY79" fmla="*/ 146520 h 585693"/>
              <a:gd name="connsiteX80" fmla="*/ 477371 w 608814"/>
              <a:gd name="connsiteY80" fmla="*/ 115044 h 585693"/>
              <a:gd name="connsiteX81" fmla="*/ 445756 w 608814"/>
              <a:gd name="connsiteY81" fmla="*/ 83476 h 585693"/>
              <a:gd name="connsiteX82" fmla="*/ 426676 w 608814"/>
              <a:gd name="connsiteY82" fmla="*/ 0 h 585693"/>
              <a:gd name="connsiteX83" fmla="*/ 464835 w 608814"/>
              <a:gd name="connsiteY83" fmla="*/ 0 h 585693"/>
              <a:gd name="connsiteX84" fmla="*/ 480597 w 608814"/>
              <a:gd name="connsiteY84" fmla="*/ 15738 h 585693"/>
              <a:gd name="connsiteX85" fmla="*/ 480597 w 608814"/>
              <a:gd name="connsiteY85" fmla="*/ 31936 h 585693"/>
              <a:gd name="connsiteX86" fmla="*/ 500138 w 608814"/>
              <a:gd name="connsiteY86" fmla="*/ 43533 h 585693"/>
              <a:gd name="connsiteX87" fmla="*/ 514425 w 608814"/>
              <a:gd name="connsiteY87" fmla="*/ 35249 h 585693"/>
              <a:gd name="connsiteX88" fmla="*/ 535901 w 608814"/>
              <a:gd name="connsiteY88" fmla="*/ 40956 h 585693"/>
              <a:gd name="connsiteX89" fmla="*/ 554981 w 608814"/>
              <a:gd name="connsiteY89" fmla="*/ 73996 h 585693"/>
              <a:gd name="connsiteX90" fmla="*/ 556640 w 608814"/>
              <a:gd name="connsiteY90" fmla="*/ 85961 h 585693"/>
              <a:gd name="connsiteX91" fmla="*/ 549266 w 608814"/>
              <a:gd name="connsiteY91" fmla="*/ 95440 h 585693"/>
              <a:gd name="connsiteX92" fmla="*/ 534887 w 608814"/>
              <a:gd name="connsiteY92" fmla="*/ 103815 h 585693"/>
              <a:gd name="connsiteX93" fmla="*/ 535993 w 608814"/>
              <a:gd name="connsiteY93" fmla="*/ 115044 h 585693"/>
              <a:gd name="connsiteX94" fmla="*/ 535717 w 608814"/>
              <a:gd name="connsiteY94" fmla="*/ 117621 h 585693"/>
              <a:gd name="connsiteX95" fmla="*/ 521153 w 608814"/>
              <a:gd name="connsiteY95" fmla="*/ 117621 h 585693"/>
              <a:gd name="connsiteX96" fmla="*/ 466126 w 608814"/>
              <a:gd name="connsiteY96" fmla="*/ 172565 h 585693"/>
              <a:gd name="connsiteX97" fmla="*/ 466126 w 608814"/>
              <a:gd name="connsiteY97" fmla="*/ 229719 h 585693"/>
              <a:gd name="connsiteX98" fmla="*/ 466126 w 608814"/>
              <a:gd name="connsiteY98" fmla="*/ 242604 h 585693"/>
              <a:gd name="connsiteX99" fmla="*/ 453590 w 608814"/>
              <a:gd name="connsiteY99" fmla="*/ 229995 h 585693"/>
              <a:gd name="connsiteX100" fmla="*/ 421330 w 608814"/>
              <a:gd name="connsiteY100" fmla="*/ 219319 h 585693"/>
              <a:gd name="connsiteX101" fmla="*/ 411928 w 608814"/>
              <a:gd name="connsiteY101" fmla="*/ 219319 h 585693"/>
              <a:gd name="connsiteX102" fmla="*/ 410914 w 608814"/>
              <a:gd name="connsiteY102" fmla="*/ 214257 h 585693"/>
              <a:gd name="connsiteX103" fmla="*/ 410914 w 608814"/>
              <a:gd name="connsiteY103" fmla="*/ 198059 h 585693"/>
              <a:gd name="connsiteX104" fmla="*/ 391373 w 608814"/>
              <a:gd name="connsiteY104" fmla="*/ 186463 h 585693"/>
              <a:gd name="connsiteX105" fmla="*/ 377086 w 608814"/>
              <a:gd name="connsiteY105" fmla="*/ 194746 h 585693"/>
              <a:gd name="connsiteX106" fmla="*/ 365104 w 608814"/>
              <a:gd name="connsiteY106" fmla="*/ 196310 h 585693"/>
              <a:gd name="connsiteX107" fmla="*/ 355610 w 608814"/>
              <a:gd name="connsiteY107" fmla="*/ 189040 h 585693"/>
              <a:gd name="connsiteX108" fmla="*/ 336530 w 608814"/>
              <a:gd name="connsiteY108" fmla="*/ 155999 h 585693"/>
              <a:gd name="connsiteX109" fmla="*/ 342245 w 608814"/>
              <a:gd name="connsiteY109" fmla="*/ 134463 h 585693"/>
              <a:gd name="connsiteX110" fmla="*/ 356716 w 608814"/>
              <a:gd name="connsiteY110" fmla="*/ 126180 h 585693"/>
              <a:gd name="connsiteX111" fmla="*/ 355518 w 608814"/>
              <a:gd name="connsiteY111" fmla="*/ 115044 h 585693"/>
              <a:gd name="connsiteX112" fmla="*/ 356716 w 608814"/>
              <a:gd name="connsiteY112" fmla="*/ 103815 h 585693"/>
              <a:gd name="connsiteX113" fmla="*/ 342245 w 608814"/>
              <a:gd name="connsiteY113" fmla="*/ 95440 h 585693"/>
              <a:gd name="connsiteX114" fmla="*/ 336530 w 608814"/>
              <a:gd name="connsiteY114" fmla="*/ 73996 h 585693"/>
              <a:gd name="connsiteX115" fmla="*/ 355610 w 608814"/>
              <a:gd name="connsiteY115" fmla="*/ 40956 h 585693"/>
              <a:gd name="connsiteX116" fmla="*/ 365104 w 608814"/>
              <a:gd name="connsiteY116" fmla="*/ 33685 h 585693"/>
              <a:gd name="connsiteX117" fmla="*/ 377086 w 608814"/>
              <a:gd name="connsiteY117" fmla="*/ 35249 h 585693"/>
              <a:gd name="connsiteX118" fmla="*/ 391373 w 608814"/>
              <a:gd name="connsiteY118" fmla="*/ 43533 h 585693"/>
              <a:gd name="connsiteX119" fmla="*/ 410914 w 608814"/>
              <a:gd name="connsiteY119" fmla="*/ 31936 h 585693"/>
              <a:gd name="connsiteX120" fmla="*/ 410914 w 608814"/>
              <a:gd name="connsiteY120" fmla="*/ 15738 h 585693"/>
              <a:gd name="connsiteX121" fmla="*/ 426676 w 608814"/>
              <a:gd name="connsiteY121" fmla="*/ 0 h 585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608814" h="585693">
                <a:moveTo>
                  <a:pt x="195114" y="351627"/>
                </a:moveTo>
                <a:lnTo>
                  <a:pt x="258290" y="351627"/>
                </a:lnTo>
                <a:cubicBezTo>
                  <a:pt x="271848" y="351627"/>
                  <a:pt x="282731" y="362580"/>
                  <a:pt x="282731" y="376018"/>
                </a:cubicBezTo>
                <a:lnTo>
                  <a:pt x="282731" y="561210"/>
                </a:lnTo>
                <a:cubicBezTo>
                  <a:pt x="282731" y="574740"/>
                  <a:pt x="271848" y="585693"/>
                  <a:pt x="258290" y="585693"/>
                </a:cubicBezTo>
                <a:lnTo>
                  <a:pt x="195114" y="585693"/>
                </a:lnTo>
                <a:cubicBezTo>
                  <a:pt x="181556" y="585693"/>
                  <a:pt x="170673" y="574740"/>
                  <a:pt x="170673" y="561210"/>
                </a:cubicBezTo>
                <a:lnTo>
                  <a:pt x="170673" y="376018"/>
                </a:lnTo>
                <a:cubicBezTo>
                  <a:pt x="170673" y="362580"/>
                  <a:pt x="181556" y="351627"/>
                  <a:pt x="195114" y="351627"/>
                </a:cubicBezTo>
                <a:close/>
                <a:moveTo>
                  <a:pt x="358100" y="249872"/>
                </a:moveTo>
                <a:lnTo>
                  <a:pt x="421316" y="249872"/>
                </a:lnTo>
                <a:cubicBezTo>
                  <a:pt x="434771" y="249872"/>
                  <a:pt x="445737" y="260735"/>
                  <a:pt x="445737" y="274267"/>
                </a:cubicBezTo>
                <a:lnTo>
                  <a:pt x="445737" y="561206"/>
                </a:lnTo>
                <a:cubicBezTo>
                  <a:pt x="445737" y="574738"/>
                  <a:pt x="434771" y="585693"/>
                  <a:pt x="421316" y="585693"/>
                </a:cubicBezTo>
                <a:lnTo>
                  <a:pt x="358100" y="585693"/>
                </a:lnTo>
                <a:cubicBezTo>
                  <a:pt x="344645" y="585693"/>
                  <a:pt x="333679" y="574738"/>
                  <a:pt x="333679" y="561206"/>
                </a:cubicBezTo>
                <a:lnTo>
                  <a:pt x="333679" y="274267"/>
                </a:lnTo>
                <a:cubicBezTo>
                  <a:pt x="333679" y="260735"/>
                  <a:pt x="344645" y="249872"/>
                  <a:pt x="358100" y="249872"/>
                </a:cubicBezTo>
                <a:close/>
                <a:moveTo>
                  <a:pt x="140260" y="224680"/>
                </a:moveTo>
                <a:cubicBezTo>
                  <a:pt x="168749" y="224680"/>
                  <a:pt x="191844" y="247711"/>
                  <a:pt x="191844" y="276122"/>
                </a:cubicBezTo>
                <a:cubicBezTo>
                  <a:pt x="191844" y="304533"/>
                  <a:pt x="168749" y="327564"/>
                  <a:pt x="140260" y="327564"/>
                </a:cubicBezTo>
                <a:cubicBezTo>
                  <a:pt x="111771" y="327564"/>
                  <a:pt x="88676" y="304533"/>
                  <a:pt x="88676" y="276122"/>
                </a:cubicBezTo>
                <a:cubicBezTo>
                  <a:pt x="88676" y="247711"/>
                  <a:pt x="111771" y="224680"/>
                  <a:pt x="140260" y="224680"/>
                </a:cubicBezTo>
                <a:close/>
                <a:moveTo>
                  <a:pt x="521177" y="148117"/>
                </a:moveTo>
                <a:lnTo>
                  <a:pt x="584301" y="148117"/>
                </a:lnTo>
                <a:cubicBezTo>
                  <a:pt x="597848" y="148117"/>
                  <a:pt x="608814" y="159070"/>
                  <a:pt x="608814" y="172601"/>
                </a:cubicBezTo>
                <a:lnTo>
                  <a:pt x="608814" y="561209"/>
                </a:lnTo>
                <a:cubicBezTo>
                  <a:pt x="608814" y="574740"/>
                  <a:pt x="597848" y="585693"/>
                  <a:pt x="584301" y="585693"/>
                </a:cubicBezTo>
                <a:lnTo>
                  <a:pt x="521177" y="585693"/>
                </a:lnTo>
                <a:cubicBezTo>
                  <a:pt x="507722" y="585693"/>
                  <a:pt x="496756" y="574740"/>
                  <a:pt x="496756" y="561209"/>
                </a:cubicBezTo>
                <a:lnTo>
                  <a:pt x="496756" y="172601"/>
                </a:lnTo>
                <a:cubicBezTo>
                  <a:pt x="496756" y="159070"/>
                  <a:pt x="507722" y="148117"/>
                  <a:pt x="521177" y="148117"/>
                </a:cubicBezTo>
                <a:close/>
                <a:moveTo>
                  <a:pt x="116229" y="131322"/>
                </a:moveTo>
                <a:lnTo>
                  <a:pt x="164246" y="131322"/>
                </a:lnTo>
                <a:cubicBezTo>
                  <a:pt x="175214" y="131322"/>
                  <a:pt x="184061" y="140159"/>
                  <a:pt x="184061" y="151113"/>
                </a:cubicBezTo>
                <a:lnTo>
                  <a:pt x="184061" y="171457"/>
                </a:lnTo>
                <a:cubicBezTo>
                  <a:pt x="193001" y="175231"/>
                  <a:pt x="201019" y="180386"/>
                  <a:pt x="208669" y="186094"/>
                </a:cubicBezTo>
                <a:lnTo>
                  <a:pt x="226641" y="175692"/>
                </a:lnTo>
                <a:cubicBezTo>
                  <a:pt x="236134" y="170261"/>
                  <a:pt x="248300" y="173482"/>
                  <a:pt x="253737" y="182964"/>
                </a:cubicBezTo>
                <a:lnTo>
                  <a:pt x="277792" y="224572"/>
                </a:lnTo>
                <a:cubicBezTo>
                  <a:pt x="280465" y="229083"/>
                  <a:pt x="281110" y="234514"/>
                  <a:pt x="279727" y="239577"/>
                </a:cubicBezTo>
                <a:cubicBezTo>
                  <a:pt x="278437" y="244640"/>
                  <a:pt x="275119" y="248966"/>
                  <a:pt x="270511" y="251544"/>
                </a:cubicBezTo>
                <a:lnTo>
                  <a:pt x="252355" y="262038"/>
                </a:lnTo>
                <a:cubicBezTo>
                  <a:pt x="253000" y="266733"/>
                  <a:pt x="253829" y="271335"/>
                  <a:pt x="253829" y="276122"/>
                </a:cubicBezTo>
                <a:cubicBezTo>
                  <a:pt x="253829" y="281001"/>
                  <a:pt x="253000" y="285604"/>
                  <a:pt x="252355" y="290206"/>
                </a:cubicBezTo>
                <a:lnTo>
                  <a:pt x="270511" y="300700"/>
                </a:lnTo>
                <a:cubicBezTo>
                  <a:pt x="279174" y="305671"/>
                  <a:pt x="282308" y="316165"/>
                  <a:pt x="278714" y="325094"/>
                </a:cubicBezTo>
                <a:cubicBezTo>
                  <a:pt x="272354" y="322609"/>
                  <a:pt x="265442" y="321136"/>
                  <a:pt x="258253" y="321136"/>
                </a:cubicBezTo>
                <a:lnTo>
                  <a:pt x="195858" y="321136"/>
                </a:lnTo>
                <a:cubicBezTo>
                  <a:pt x="205904" y="308709"/>
                  <a:pt x="212171" y="293244"/>
                  <a:pt x="212171" y="276122"/>
                </a:cubicBezTo>
                <a:cubicBezTo>
                  <a:pt x="212171" y="236539"/>
                  <a:pt x="179914" y="204320"/>
                  <a:pt x="140191" y="204320"/>
                </a:cubicBezTo>
                <a:cubicBezTo>
                  <a:pt x="100561" y="204320"/>
                  <a:pt x="68304" y="236539"/>
                  <a:pt x="68304" y="276122"/>
                </a:cubicBezTo>
                <a:cubicBezTo>
                  <a:pt x="68304" y="315797"/>
                  <a:pt x="100561" y="348016"/>
                  <a:pt x="140191" y="348016"/>
                </a:cubicBezTo>
                <a:cubicBezTo>
                  <a:pt x="143048" y="348016"/>
                  <a:pt x="145721" y="347463"/>
                  <a:pt x="148486" y="347095"/>
                </a:cubicBezTo>
                <a:cubicBezTo>
                  <a:pt x="143233" y="355564"/>
                  <a:pt x="140099" y="365414"/>
                  <a:pt x="140099" y="376000"/>
                </a:cubicBezTo>
                <a:lnTo>
                  <a:pt x="140099" y="420922"/>
                </a:lnTo>
                <a:lnTo>
                  <a:pt x="116229" y="420922"/>
                </a:lnTo>
                <a:cubicBezTo>
                  <a:pt x="105261" y="420922"/>
                  <a:pt x="96413" y="412085"/>
                  <a:pt x="96413" y="401131"/>
                </a:cubicBezTo>
                <a:lnTo>
                  <a:pt x="96413" y="380787"/>
                </a:lnTo>
                <a:cubicBezTo>
                  <a:pt x="87474" y="377013"/>
                  <a:pt x="79455" y="371950"/>
                  <a:pt x="71806" y="366150"/>
                </a:cubicBezTo>
                <a:lnTo>
                  <a:pt x="53742" y="376552"/>
                </a:lnTo>
                <a:cubicBezTo>
                  <a:pt x="49226" y="379222"/>
                  <a:pt x="43788" y="379866"/>
                  <a:pt x="38719" y="378577"/>
                </a:cubicBezTo>
                <a:cubicBezTo>
                  <a:pt x="33650" y="377197"/>
                  <a:pt x="29318" y="373883"/>
                  <a:pt x="26738" y="369372"/>
                </a:cubicBezTo>
                <a:lnTo>
                  <a:pt x="2683" y="327764"/>
                </a:lnTo>
                <a:cubicBezTo>
                  <a:pt x="-2847" y="318282"/>
                  <a:pt x="471" y="306131"/>
                  <a:pt x="9872" y="300700"/>
                </a:cubicBezTo>
                <a:lnTo>
                  <a:pt x="28120" y="290206"/>
                </a:lnTo>
                <a:cubicBezTo>
                  <a:pt x="27475" y="285604"/>
                  <a:pt x="26645" y="281001"/>
                  <a:pt x="26645" y="276122"/>
                </a:cubicBezTo>
                <a:cubicBezTo>
                  <a:pt x="26645" y="271335"/>
                  <a:pt x="27475" y="266733"/>
                  <a:pt x="28120" y="262038"/>
                </a:cubicBezTo>
                <a:lnTo>
                  <a:pt x="9872" y="251544"/>
                </a:lnTo>
                <a:cubicBezTo>
                  <a:pt x="471" y="246113"/>
                  <a:pt x="-2847" y="233962"/>
                  <a:pt x="2683" y="224572"/>
                </a:cubicBezTo>
                <a:lnTo>
                  <a:pt x="26738" y="182964"/>
                </a:lnTo>
                <a:cubicBezTo>
                  <a:pt x="29318" y="178361"/>
                  <a:pt x="33650" y="175139"/>
                  <a:pt x="38719" y="173759"/>
                </a:cubicBezTo>
                <a:cubicBezTo>
                  <a:pt x="43788" y="172378"/>
                  <a:pt x="49226" y="173114"/>
                  <a:pt x="53742" y="175692"/>
                </a:cubicBezTo>
                <a:lnTo>
                  <a:pt x="71806" y="186094"/>
                </a:lnTo>
                <a:cubicBezTo>
                  <a:pt x="79455" y="180386"/>
                  <a:pt x="87474" y="175231"/>
                  <a:pt x="96413" y="171457"/>
                </a:cubicBezTo>
                <a:lnTo>
                  <a:pt x="96413" y="151113"/>
                </a:lnTo>
                <a:cubicBezTo>
                  <a:pt x="96413" y="140159"/>
                  <a:pt x="105261" y="131322"/>
                  <a:pt x="116229" y="131322"/>
                </a:cubicBezTo>
                <a:close/>
                <a:moveTo>
                  <a:pt x="445756" y="83476"/>
                </a:moveTo>
                <a:cubicBezTo>
                  <a:pt x="428335" y="83476"/>
                  <a:pt x="414140" y="97557"/>
                  <a:pt x="414140" y="115044"/>
                </a:cubicBezTo>
                <a:cubicBezTo>
                  <a:pt x="414140" y="132438"/>
                  <a:pt x="428335" y="146520"/>
                  <a:pt x="445756" y="146520"/>
                </a:cubicBezTo>
                <a:cubicBezTo>
                  <a:pt x="463176" y="146520"/>
                  <a:pt x="477371" y="132438"/>
                  <a:pt x="477371" y="115044"/>
                </a:cubicBezTo>
                <a:cubicBezTo>
                  <a:pt x="477371" y="97557"/>
                  <a:pt x="463176" y="83476"/>
                  <a:pt x="445756" y="83476"/>
                </a:cubicBezTo>
                <a:close/>
                <a:moveTo>
                  <a:pt x="426676" y="0"/>
                </a:moveTo>
                <a:lnTo>
                  <a:pt x="464835" y="0"/>
                </a:lnTo>
                <a:cubicBezTo>
                  <a:pt x="473500" y="0"/>
                  <a:pt x="480597" y="7087"/>
                  <a:pt x="480597" y="15738"/>
                </a:cubicBezTo>
                <a:lnTo>
                  <a:pt x="480597" y="31936"/>
                </a:lnTo>
                <a:cubicBezTo>
                  <a:pt x="487694" y="34881"/>
                  <a:pt x="494054" y="38931"/>
                  <a:pt x="500138" y="43533"/>
                </a:cubicBezTo>
                <a:lnTo>
                  <a:pt x="514425" y="35249"/>
                </a:lnTo>
                <a:cubicBezTo>
                  <a:pt x="521983" y="30924"/>
                  <a:pt x="531569" y="33501"/>
                  <a:pt x="535901" y="40956"/>
                </a:cubicBezTo>
                <a:lnTo>
                  <a:pt x="554981" y="73996"/>
                </a:lnTo>
                <a:cubicBezTo>
                  <a:pt x="557101" y="77585"/>
                  <a:pt x="557654" y="81911"/>
                  <a:pt x="556640" y="85961"/>
                </a:cubicBezTo>
                <a:cubicBezTo>
                  <a:pt x="555534" y="89918"/>
                  <a:pt x="552861" y="93415"/>
                  <a:pt x="549266" y="95440"/>
                </a:cubicBezTo>
                <a:lnTo>
                  <a:pt x="534887" y="103815"/>
                </a:lnTo>
                <a:cubicBezTo>
                  <a:pt x="535348" y="107497"/>
                  <a:pt x="535993" y="111178"/>
                  <a:pt x="535993" y="115044"/>
                </a:cubicBezTo>
                <a:cubicBezTo>
                  <a:pt x="535993" y="115872"/>
                  <a:pt x="535809" y="116700"/>
                  <a:pt x="535717" y="117621"/>
                </a:cubicBezTo>
                <a:lnTo>
                  <a:pt x="521153" y="117621"/>
                </a:lnTo>
                <a:cubicBezTo>
                  <a:pt x="490828" y="117621"/>
                  <a:pt x="466126" y="142286"/>
                  <a:pt x="466126" y="172565"/>
                </a:cubicBezTo>
                <a:lnTo>
                  <a:pt x="466126" y="229719"/>
                </a:lnTo>
                <a:lnTo>
                  <a:pt x="466126" y="242604"/>
                </a:lnTo>
                <a:cubicBezTo>
                  <a:pt x="462715" y="237726"/>
                  <a:pt x="458383" y="233493"/>
                  <a:pt x="453590" y="229995"/>
                </a:cubicBezTo>
                <a:cubicBezTo>
                  <a:pt x="444465" y="223369"/>
                  <a:pt x="433404" y="219319"/>
                  <a:pt x="421330" y="219319"/>
                </a:cubicBezTo>
                <a:lnTo>
                  <a:pt x="411928" y="219319"/>
                </a:lnTo>
                <a:cubicBezTo>
                  <a:pt x="411375" y="217755"/>
                  <a:pt x="410914" y="216098"/>
                  <a:pt x="410914" y="214257"/>
                </a:cubicBezTo>
                <a:lnTo>
                  <a:pt x="410914" y="198059"/>
                </a:lnTo>
                <a:cubicBezTo>
                  <a:pt x="403817" y="195114"/>
                  <a:pt x="397457" y="191064"/>
                  <a:pt x="391373" y="186463"/>
                </a:cubicBezTo>
                <a:lnTo>
                  <a:pt x="377086" y="194746"/>
                </a:lnTo>
                <a:cubicBezTo>
                  <a:pt x="373492" y="196863"/>
                  <a:pt x="369160" y="197415"/>
                  <a:pt x="365104" y="196310"/>
                </a:cubicBezTo>
                <a:cubicBezTo>
                  <a:pt x="361140" y="195206"/>
                  <a:pt x="357638" y="192629"/>
                  <a:pt x="355610" y="189040"/>
                </a:cubicBezTo>
                <a:lnTo>
                  <a:pt x="336530" y="155999"/>
                </a:lnTo>
                <a:cubicBezTo>
                  <a:pt x="332198" y="148452"/>
                  <a:pt x="334687" y="138881"/>
                  <a:pt x="342245" y="134463"/>
                </a:cubicBezTo>
                <a:lnTo>
                  <a:pt x="356716" y="126180"/>
                </a:lnTo>
                <a:cubicBezTo>
                  <a:pt x="356163" y="122498"/>
                  <a:pt x="355518" y="118817"/>
                  <a:pt x="355518" y="115044"/>
                </a:cubicBezTo>
                <a:cubicBezTo>
                  <a:pt x="355518" y="111178"/>
                  <a:pt x="356163" y="107497"/>
                  <a:pt x="356716" y="103815"/>
                </a:cubicBezTo>
                <a:lnTo>
                  <a:pt x="342245" y="95440"/>
                </a:lnTo>
                <a:cubicBezTo>
                  <a:pt x="334687" y="91115"/>
                  <a:pt x="332198" y="81543"/>
                  <a:pt x="336530" y="73996"/>
                </a:cubicBezTo>
                <a:lnTo>
                  <a:pt x="355610" y="40956"/>
                </a:lnTo>
                <a:cubicBezTo>
                  <a:pt x="357638" y="37366"/>
                  <a:pt x="361140" y="34789"/>
                  <a:pt x="365104" y="33685"/>
                </a:cubicBezTo>
                <a:cubicBezTo>
                  <a:pt x="369160" y="32580"/>
                  <a:pt x="373492" y="33133"/>
                  <a:pt x="377086" y="35249"/>
                </a:cubicBezTo>
                <a:lnTo>
                  <a:pt x="391373" y="43533"/>
                </a:lnTo>
                <a:cubicBezTo>
                  <a:pt x="397457" y="38931"/>
                  <a:pt x="403817" y="34881"/>
                  <a:pt x="410914" y="31936"/>
                </a:cubicBezTo>
                <a:lnTo>
                  <a:pt x="410914" y="15738"/>
                </a:lnTo>
                <a:cubicBezTo>
                  <a:pt x="410914" y="7087"/>
                  <a:pt x="418011" y="0"/>
                  <a:pt x="42667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0DB000C5-0551-4D45-94F8-A8E656DC5C7C}"/>
              </a:ext>
            </a:extLst>
          </p:cNvPr>
          <p:cNvSpPr/>
          <p:nvPr/>
        </p:nvSpPr>
        <p:spPr bwMode="auto">
          <a:xfrm>
            <a:off x="6684618" y="2663693"/>
            <a:ext cx="495886" cy="401374"/>
          </a:xfrm>
          <a:custGeom>
            <a:avLst/>
            <a:gdLst>
              <a:gd name="connsiteX0" fmla="*/ 355420 w 607568"/>
              <a:gd name="connsiteY0" fmla="*/ 250307 h 491771"/>
              <a:gd name="connsiteX1" fmla="*/ 352312 w 607568"/>
              <a:gd name="connsiteY1" fmla="*/ 251812 h 491771"/>
              <a:gd name="connsiteX2" fmla="*/ 321042 w 607568"/>
              <a:gd name="connsiteY2" fmla="*/ 289814 h 491771"/>
              <a:gd name="connsiteX3" fmla="*/ 321513 w 607568"/>
              <a:gd name="connsiteY3" fmla="*/ 295364 h 491771"/>
              <a:gd name="connsiteX4" fmla="*/ 369736 w 607568"/>
              <a:gd name="connsiteY4" fmla="*/ 338257 h 491771"/>
              <a:gd name="connsiteX5" fmla="*/ 371997 w 607568"/>
              <a:gd name="connsiteY5" fmla="*/ 339104 h 491771"/>
              <a:gd name="connsiteX6" fmla="*/ 373127 w 607568"/>
              <a:gd name="connsiteY6" fmla="*/ 338916 h 491771"/>
              <a:gd name="connsiteX7" fmla="*/ 375293 w 607568"/>
              <a:gd name="connsiteY7" fmla="*/ 336282 h 491771"/>
              <a:gd name="connsiteX8" fmla="*/ 383676 w 607568"/>
              <a:gd name="connsiteY8" fmla="*/ 279467 h 491771"/>
              <a:gd name="connsiteX9" fmla="*/ 376424 w 607568"/>
              <a:gd name="connsiteY9" fmla="*/ 263287 h 491771"/>
              <a:gd name="connsiteX10" fmla="*/ 357681 w 607568"/>
              <a:gd name="connsiteY10" fmla="*/ 250965 h 491771"/>
              <a:gd name="connsiteX11" fmla="*/ 355420 w 607568"/>
              <a:gd name="connsiteY11" fmla="*/ 250307 h 491771"/>
              <a:gd name="connsiteX12" fmla="*/ 258879 w 607568"/>
              <a:gd name="connsiteY12" fmla="*/ 250307 h 491771"/>
              <a:gd name="connsiteX13" fmla="*/ 256712 w 607568"/>
              <a:gd name="connsiteY13" fmla="*/ 250965 h 491771"/>
              <a:gd name="connsiteX14" fmla="*/ 237969 w 607568"/>
              <a:gd name="connsiteY14" fmla="*/ 263287 h 491771"/>
              <a:gd name="connsiteX15" fmla="*/ 230717 w 607568"/>
              <a:gd name="connsiteY15" fmla="*/ 279467 h 491771"/>
              <a:gd name="connsiteX16" fmla="*/ 239100 w 607568"/>
              <a:gd name="connsiteY16" fmla="*/ 336282 h 491771"/>
              <a:gd name="connsiteX17" fmla="*/ 241266 w 607568"/>
              <a:gd name="connsiteY17" fmla="*/ 338916 h 491771"/>
              <a:gd name="connsiteX18" fmla="*/ 242396 w 607568"/>
              <a:gd name="connsiteY18" fmla="*/ 339104 h 491771"/>
              <a:gd name="connsiteX19" fmla="*/ 244657 w 607568"/>
              <a:gd name="connsiteY19" fmla="*/ 338257 h 491771"/>
              <a:gd name="connsiteX20" fmla="*/ 292880 w 607568"/>
              <a:gd name="connsiteY20" fmla="*/ 295364 h 491771"/>
              <a:gd name="connsiteX21" fmla="*/ 293351 w 607568"/>
              <a:gd name="connsiteY21" fmla="*/ 289814 h 491771"/>
              <a:gd name="connsiteX22" fmla="*/ 261987 w 607568"/>
              <a:gd name="connsiteY22" fmla="*/ 251812 h 491771"/>
              <a:gd name="connsiteX23" fmla="*/ 258879 w 607568"/>
              <a:gd name="connsiteY23" fmla="*/ 250307 h 491771"/>
              <a:gd name="connsiteX24" fmla="*/ 500465 w 607568"/>
              <a:gd name="connsiteY24" fmla="*/ 66049 h 491771"/>
              <a:gd name="connsiteX25" fmla="*/ 565743 w 607568"/>
              <a:gd name="connsiteY25" fmla="*/ 130673 h 491771"/>
              <a:gd name="connsiteX26" fmla="*/ 566120 w 607568"/>
              <a:gd name="connsiteY26" fmla="*/ 130673 h 491771"/>
              <a:gd name="connsiteX27" fmla="*/ 580250 w 607568"/>
              <a:gd name="connsiteY27" fmla="*/ 160962 h 491771"/>
              <a:gd name="connsiteX28" fmla="*/ 560939 w 607568"/>
              <a:gd name="connsiteY28" fmla="*/ 182503 h 491771"/>
              <a:gd name="connsiteX29" fmla="*/ 531927 w 607568"/>
              <a:gd name="connsiteY29" fmla="*/ 223799 h 491771"/>
              <a:gd name="connsiteX30" fmla="*/ 528253 w 607568"/>
              <a:gd name="connsiteY30" fmla="*/ 234240 h 491771"/>
              <a:gd name="connsiteX31" fmla="*/ 530797 w 607568"/>
              <a:gd name="connsiteY31" fmla="*/ 246281 h 491771"/>
              <a:gd name="connsiteX32" fmla="*/ 545868 w 607568"/>
              <a:gd name="connsiteY32" fmla="*/ 261143 h 491771"/>
              <a:gd name="connsiteX33" fmla="*/ 558961 w 607568"/>
              <a:gd name="connsiteY33" fmla="*/ 263777 h 491771"/>
              <a:gd name="connsiteX34" fmla="*/ 597299 w 607568"/>
              <a:gd name="connsiteY34" fmla="*/ 301968 h 491771"/>
              <a:gd name="connsiteX35" fmla="*/ 607002 w 607568"/>
              <a:gd name="connsiteY35" fmla="*/ 350788 h 491771"/>
              <a:gd name="connsiteX36" fmla="*/ 601256 w 607568"/>
              <a:gd name="connsiteY36" fmla="*/ 373835 h 491771"/>
              <a:gd name="connsiteX37" fmla="*/ 579685 w 607568"/>
              <a:gd name="connsiteY37" fmla="*/ 384088 h 491771"/>
              <a:gd name="connsiteX38" fmla="*/ 490386 w 607568"/>
              <a:gd name="connsiteY38" fmla="*/ 384088 h 491771"/>
              <a:gd name="connsiteX39" fmla="*/ 467685 w 607568"/>
              <a:gd name="connsiteY39" fmla="*/ 310058 h 491771"/>
              <a:gd name="connsiteX40" fmla="*/ 431702 w 607568"/>
              <a:gd name="connsiteY40" fmla="*/ 267445 h 491771"/>
              <a:gd name="connsiteX41" fmla="*/ 441969 w 607568"/>
              <a:gd name="connsiteY41" fmla="*/ 263777 h 491771"/>
              <a:gd name="connsiteX42" fmla="*/ 455157 w 607568"/>
              <a:gd name="connsiteY42" fmla="*/ 261237 h 491771"/>
              <a:gd name="connsiteX43" fmla="*/ 470228 w 607568"/>
              <a:gd name="connsiteY43" fmla="*/ 246281 h 491771"/>
              <a:gd name="connsiteX44" fmla="*/ 472677 w 607568"/>
              <a:gd name="connsiteY44" fmla="*/ 234240 h 491771"/>
              <a:gd name="connsiteX45" fmla="*/ 469098 w 607568"/>
              <a:gd name="connsiteY45" fmla="*/ 223893 h 491771"/>
              <a:gd name="connsiteX46" fmla="*/ 439991 w 607568"/>
              <a:gd name="connsiteY46" fmla="*/ 182503 h 491771"/>
              <a:gd name="connsiteX47" fmla="*/ 426144 w 607568"/>
              <a:gd name="connsiteY47" fmla="*/ 172720 h 491771"/>
              <a:gd name="connsiteX48" fmla="*/ 441404 w 607568"/>
              <a:gd name="connsiteY48" fmla="*/ 143278 h 491771"/>
              <a:gd name="connsiteX49" fmla="*/ 439708 w 607568"/>
              <a:gd name="connsiteY49" fmla="*/ 107438 h 491771"/>
              <a:gd name="connsiteX50" fmla="*/ 500465 w 607568"/>
              <a:gd name="connsiteY50" fmla="*/ 66049 h 491771"/>
              <a:gd name="connsiteX51" fmla="*/ 107100 w 607568"/>
              <a:gd name="connsiteY51" fmla="*/ 66049 h 491771"/>
              <a:gd name="connsiteX52" fmla="*/ 171341 w 607568"/>
              <a:gd name="connsiteY52" fmla="*/ 123618 h 491771"/>
              <a:gd name="connsiteX53" fmla="*/ 172849 w 607568"/>
              <a:gd name="connsiteY53" fmla="*/ 143278 h 491771"/>
              <a:gd name="connsiteX54" fmla="*/ 184246 w 607568"/>
              <a:gd name="connsiteY54" fmla="*/ 168205 h 491771"/>
              <a:gd name="connsiteX55" fmla="*/ 167574 w 607568"/>
              <a:gd name="connsiteY55" fmla="*/ 182503 h 491771"/>
              <a:gd name="connsiteX56" fmla="*/ 138468 w 607568"/>
              <a:gd name="connsiteY56" fmla="*/ 223799 h 491771"/>
              <a:gd name="connsiteX57" fmla="*/ 134794 w 607568"/>
              <a:gd name="connsiteY57" fmla="*/ 234240 h 491771"/>
              <a:gd name="connsiteX58" fmla="*/ 137337 w 607568"/>
              <a:gd name="connsiteY58" fmla="*/ 246281 h 491771"/>
              <a:gd name="connsiteX59" fmla="*/ 152408 w 607568"/>
              <a:gd name="connsiteY59" fmla="*/ 261143 h 491771"/>
              <a:gd name="connsiteX60" fmla="*/ 165596 w 607568"/>
              <a:gd name="connsiteY60" fmla="*/ 263777 h 491771"/>
              <a:gd name="connsiteX61" fmla="*/ 179442 w 607568"/>
              <a:gd name="connsiteY61" fmla="*/ 268856 h 491771"/>
              <a:gd name="connsiteX62" fmla="*/ 146662 w 607568"/>
              <a:gd name="connsiteY62" fmla="*/ 310058 h 491771"/>
              <a:gd name="connsiteX63" fmla="*/ 123867 w 607568"/>
              <a:gd name="connsiteY63" fmla="*/ 384088 h 491771"/>
              <a:gd name="connsiteX64" fmla="*/ 27883 w 607568"/>
              <a:gd name="connsiteY64" fmla="*/ 384088 h 491771"/>
              <a:gd name="connsiteX65" fmla="*/ 6312 w 607568"/>
              <a:gd name="connsiteY65" fmla="*/ 373835 h 491771"/>
              <a:gd name="connsiteX66" fmla="*/ 566 w 607568"/>
              <a:gd name="connsiteY66" fmla="*/ 350788 h 491771"/>
              <a:gd name="connsiteX67" fmla="*/ 10268 w 607568"/>
              <a:gd name="connsiteY67" fmla="*/ 301968 h 491771"/>
              <a:gd name="connsiteX68" fmla="*/ 48606 w 607568"/>
              <a:gd name="connsiteY68" fmla="*/ 263777 h 491771"/>
              <a:gd name="connsiteX69" fmla="*/ 61699 w 607568"/>
              <a:gd name="connsiteY69" fmla="*/ 261237 h 491771"/>
              <a:gd name="connsiteX70" fmla="*/ 76770 w 607568"/>
              <a:gd name="connsiteY70" fmla="*/ 246281 h 491771"/>
              <a:gd name="connsiteX71" fmla="*/ 79313 w 607568"/>
              <a:gd name="connsiteY71" fmla="*/ 234240 h 491771"/>
              <a:gd name="connsiteX72" fmla="*/ 75639 w 607568"/>
              <a:gd name="connsiteY72" fmla="*/ 223893 h 491771"/>
              <a:gd name="connsiteX73" fmla="*/ 46628 w 607568"/>
              <a:gd name="connsiteY73" fmla="*/ 182503 h 491771"/>
              <a:gd name="connsiteX74" fmla="*/ 27318 w 607568"/>
              <a:gd name="connsiteY74" fmla="*/ 160962 h 491771"/>
              <a:gd name="connsiteX75" fmla="*/ 41447 w 607568"/>
              <a:gd name="connsiteY75" fmla="*/ 130673 h 491771"/>
              <a:gd name="connsiteX76" fmla="*/ 41824 w 607568"/>
              <a:gd name="connsiteY76" fmla="*/ 130673 h 491771"/>
              <a:gd name="connsiteX77" fmla="*/ 107100 w 607568"/>
              <a:gd name="connsiteY77" fmla="*/ 66049 h 491771"/>
              <a:gd name="connsiteX78" fmla="*/ 298626 w 607568"/>
              <a:gd name="connsiteY78" fmla="*/ 0 h 491771"/>
              <a:gd name="connsiteX79" fmla="*/ 315956 w 607568"/>
              <a:gd name="connsiteY79" fmla="*/ 0 h 491771"/>
              <a:gd name="connsiteX80" fmla="*/ 401854 w 607568"/>
              <a:gd name="connsiteY80" fmla="*/ 85787 h 491771"/>
              <a:gd name="connsiteX81" fmla="*/ 401854 w 607568"/>
              <a:gd name="connsiteY81" fmla="*/ 95476 h 491771"/>
              <a:gd name="connsiteX82" fmla="*/ 421633 w 607568"/>
              <a:gd name="connsiteY82" fmla="*/ 138840 h 491771"/>
              <a:gd name="connsiteX83" fmla="*/ 417960 w 607568"/>
              <a:gd name="connsiteY83" fmla="*/ 149281 h 491771"/>
              <a:gd name="connsiteX84" fmla="*/ 417112 w 607568"/>
              <a:gd name="connsiteY84" fmla="*/ 151068 h 491771"/>
              <a:gd name="connsiteX85" fmla="*/ 411273 w 607568"/>
              <a:gd name="connsiteY85" fmla="*/ 159534 h 491771"/>
              <a:gd name="connsiteX86" fmla="*/ 410896 w 607568"/>
              <a:gd name="connsiteY86" fmla="*/ 159910 h 491771"/>
              <a:gd name="connsiteX87" fmla="*/ 394037 w 607568"/>
              <a:gd name="connsiteY87" fmla="*/ 169787 h 491771"/>
              <a:gd name="connsiteX88" fmla="*/ 384900 w 607568"/>
              <a:gd name="connsiteY88" fmla="*/ 189541 h 491771"/>
              <a:gd name="connsiteX89" fmla="*/ 384712 w 607568"/>
              <a:gd name="connsiteY89" fmla="*/ 189823 h 491771"/>
              <a:gd name="connsiteX90" fmla="*/ 373316 w 607568"/>
              <a:gd name="connsiteY90" fmla="*/ 207131 h 491771"/>
              <a:gd name="connsiteX91" fmla="*/ 372750 w 607568"/>
              <a:gd name="connsiteY91" fmla="*/ 207789 h 491771"/>
              <a:gd name="connsiteX92" fmla="*/ 359847 w 607568"/>
              <a:gd name="connsiteY92" fmla="*/ 222275 h 491771"/>
              <a:gd name="connsiteX93" fmla="*/ 359188 w 607568"/>
              <a:gd name="connsiteY93" fmla="*/ 222934 h 491771"/>
              <a:gd name="connsiteX94" fmla="*/ 345154 w 607568"/>
              <a:gd name="connsiteY94" fmla="*/ 234598 h 491771"/>
              <a:gd name="connsiteX95" fmla="*/ 345625 w 607568"/>
              <a:gd name="connsiteY95" fmla="*/ 236855 h 491771"/>
              <a:gd name="connsiteX96" fmla="*/ 348639 w 607568"/>
              <a:gd name="connsiteY96" fmla="*/ 235538 h 491771"/>
              <a:gd name="connsiteX97" fmla="*/ 355514 w 607568"/>
              <a:gd name="connsiteY97" fmla="*/ 234033 h 491771"/>
              <a:gd name="connsiteX98" fmla="*/ 366628 w 607568"/>
              <a:gd name="connsiteY98" fmla="*/ 237326 h 491771"/>
              <a:gd name="connsiteX99" fmla="*/ 385371 w 607568"/>
              <a:gd name="connsiteY99" fmla="*/ 249648 h 491771"/>
              <a:gd name="connsiteX100" fmla="*/ 399876 w 607568"/>
              <a:gd name="connsiteY100" fmla="*/ 279373 h 491771"/>
              <a:gd name="connsiteX101" fmla="*/ 430016 w 607568"/>
              <a:gd name="connsiteY101" fmla="*/ 289814 h 491771"/>
              <a:gd name="connsiteX102" fmla="*/ 448382 w 607568"/>
              <a:gd name="connsiteY102" fmla="*/ 316058 h 491771"/>
              <a:gd name="connsiteX103" fmla="*/ 481630 w 607568"/>
              <a:gd name="connsiteY103" fmla="*/ 424515 h 491771"/>
              <a:gd name="connsiteX104" fmla="*/ 483891 w 607568"/>
              <a:gd name="connsiteY104" fmla="*/ 436461 h 491771"/>
              <a:gd name="connsiteX105" fmla="*/ 473718 w 607568"/>
              <a:gd name="connsiteY105" fmla="*/ 470700 h 491771"/>
              <a:gd name="connsiteX106" fmla="*/ 443956 w 607568"/>
              <a:gd name="connsiteY106" fmla="*/ 490360 h 491771"/>
              <a:gd name="connsiteX107" fmla="*/ 431805 w 607568"/>
              <a:gd name="connsiteY107" fmla="*/ 491771 h 491771"/>
              <a:gd name="connsiteX108" fmla="*/ 325375 w 607568"/>
              <a:gd name="connsiteY108" fmla="*/ 491771 h 491771"/>
              <a:gd name="connsiteX109" fmla="*/ 337430 w 607568"/>
              <a:gd name="connsiteY109" fmla="*/ 415296 h 491771"/>
              <a:gd name="connsiteX110" fmla="*/ 334605 w 607568"/>
              <a:gd name="connsiteY110" fmla="*/ 389052 h 491771"/>
              <a:gd name="connsiteX111" fmla="*/ 323962 w 607568"/>
              <a:gd name="connsiteY111" fmla="*/ 360927 h 491771"/>
              <a:gd name="connsiteX112" fmla="*/ 337430 w 607568"/>
              <a:gd name="connsiteY112" fmla="*/ 347476 h 491771"/>
              <a:gd name="connsiteX113" fmla="*/ 307196 w 607568"/>
              <a:gd name="connsiteY113" fmla="*/ 317281 h 491771"/>
              <a:gd name="connsiteX114" fmla="*/ 276868 w 607568"/>
              <a:gd name="connsiteY114" fmla="*/ 347476 h 491771"/>
              <a:gd name="connsiteX115" fmla="*/ 290337 w 607568"/>
              <a:gd name="connsiteY115" fmla="*/ 360927 h 491771"/>
              <a:gd name="connsiteX116" fmla="*/ 279694 w 607568"/>
              <a:gd name="connsiteY116" fmla="*/ 389052 h 491771"/>
              <a:gd name="connsiteX117" fmla="*/ 276963 w 607568"/>
              <a:gd name="connsiteY117" fmla="*/ 415296 h 491771"/>
              <a:gd name="connsiteX118" fmla="*/ 288736 w 607568"/>
              <a:gd name="connsiteY118" fmla="*/ 491771 h 491771"/>
              <a:gd name="connsiteX119" fmla="*/ 182493 w 607568"/>
              <a:gd name="connsiteY119" fmla="*/ 491771 h 491771"/>
              <a:gd name="connsiteX120" fmla="*/ 170437 w 607568"/>
              <a:gd name="connsiteY120" fmla="*/ 490360 h 491771"/>
              <a:gd name="connsiteX121" fmla="*/ 140675 w 607568"/>
              <a:gd name="connsiteY121" fmla="*/ 470700 h 491771"/>
              <a:gd name="connsiteX122" fmla="*/ 132669 w 607568"/>
              <a:gd name="connsiteY122" fmla="*/ 424515 h 491771"/>
              <a:gd name="connsiteX123" fmla="*/ 166011 w 607568"/>
              <a:gd name="connsiteY123" fmla="*/ 316058 h 491771"/>
              <a:gd name="connsiteX124" fmla="*/ 184377 w 607568"/>
              <a:gd name="connsiteY124" fmla="*/ 289814 h 491771"/>
              <a:gd name="connsiteX125" fmla="*/ 214517 w 607568"/>
              <a:gd name="connsiteY125" fmla="*/ 279373 h 491771"/>
              <a:gd name="connsiteX126" fmla="*/ 214517 w 607568"/>
              <a:gd name="connsiteY126" fmla="*/ 279279 h 491771"/>
              <a:gd name="connsiteX127" fmla="*/ 229022 w 607568"/>
              <a:gd name="connsiteY127" fmla="*/ 249648 h 491771"/>
              <a:gd name="connsiteX128" fmla="*/ 247765 w 607568"/>
              <a:gd name="connsiteY128" fmla="*/ 237326 h 491771"/>
              <a:gd name="connsiteX129" fmla="*/ 258879 w 607568"/>
              <a:gd name="connsiteY129" fmla="*/ 234033 h 491771"/>
              <a:gd name="connsiteX130" fmla="*/ 265754 w 607568"/>
              <a:gd name="connsiteY130" fmla="*/ 235538 h 491771"/>
              <a:gd name="connsiteX131" fmla="*/ 268768 w 607568"/>
              <a:gd name="connsiteY131" fmla="*/ 236855 h 491771"/>
              <a:gd name="connsiteX132" fmla="*/ 269239 w 607568"/>
              <a:gd name="connsiteY132" fmla="*/ 234598 h 491771"/>
              <a:gd name="connsiteX133" fmla="*/ 255205 w 607568"/>
              <a:gd name="connsiteY133" fmla="*/ 222934 h 491771"/>
              <a:gd name="connsiteX134" fmla="*/ 254546 w 607568"/>
              <a:gd name="connsiteY134" fmla="*/ 222275 h 491771"/>
              <a:gd name="connsiteX135" fmla="*/ 241548 w 607568"/>
              <a:gd name="connsiteY135" fmla="*/ 207789 h 491771"/>
              <a:gd name="connsiteX136" fmla="*/ 241077 w 607568"/>
              <a:gd name="connsiteY136" fmla="*/ 207225 h 491771"/>
              <a:gd name="connsiteX137" fmla="*/ 229681 w 607568"/>
              <a:gd name="connsiteY137" fmla="*/ 189823 h 491771"/>
              <a:gd name="connsiteX138" fmla="*/ 229493 w 607568"/>
              <a:gd name="connsiteY138" fmla="*/ 189635 h 491771"/>
              <a:gd name="connsiteX139" fmla="*/ 220356 w 607568"/>
              <a:gd name="connsiteY139" fmla="*/ 169787 h 491771"/>
              <a:gd name="connsiteX140" fmla="*/ 203497 w 607568"/>
              <a:gd name="connsiteY140" fmla="*/ 159910 h 491771"/>
              <a:gd name="connsiteX141" fmla="*/ 203120 w 607568"/>
              <a:gd name="connsiteY141" fmla="*/ 159534 h 491771"/>
              <a:gd name="connsiteX142" fmla="*/ 197281 w 607568"/>
              <a:gd name="connsiteY142" fmla="*/ 151068 h 491771"/>
              <a:gd name="connsiteX143" fmla="*/ 196433 w 607568"/>
              <a:gd name="connsiteY143" fmla="*/ 149281 h 491771"/>
              <a:gd name="connsiteX144" fmla="*/ 192666 w 607568"/>
              <a:gd name="connsiteY144" fmla="*/ 138840 h 491771"/>
              <a:gd name="connsiteX145" fmla="*/ 212727 w 607568"/>
              <a:gd name="connsiteY145" fmla="*/ 95476 h 491771"/>
              <a:gd name="connsiteX146" fmla="*/ 212727 w 607568"/>
              <a:gd name="connsiteY146" fmla="*/ 85787 h 491771"/>
              <a:gd name="connsiteX147" fmla="*/ 298626 w 607568"/>
              <a:gd name="connsiteY147" fmla="*/ 0 h 49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7568" h="491771">
                <a:moveTo>
                  <a:pt x="355420" y="250307"/>
                </a:moveTo>
                <a:cubicBezTo>
                  <a:pt x="354290" y="250307"/>
                  <a:pt x="353160" y="250871"/>
                  <a:pt x="352312" y="251812"/>
                </a:cubicBezTo>
                <a:lnTo>
                  <a:pt x="321042" y="289814"/>
                </a:lnTo>
                <a:cubicBezTo>
                  <a:pt x="319723" y="291507"/>
                  <a:pt x="319912" y="293953"/>
                  <a:pt x="321513" y="295364"/>
                </a:cubicBezTo>
                <a:lnTo>
                  <a:pt x="369736" y="338257"/>
                </a:lnTo>
                <a:cubicBezTo>
                  <a:pt x="370396" y="338822"/>
                  <a:pt x="371149" y="339104"/>
                  <a:pt x="371997" y="339104"/>
                </a:cubicBezTo>
                <a:cubicBezTo>
                  <a:pt x="372374" y="339104"/>
                  <a:pt x="372750" y="339010"/>
                  <a:pt x="373127" y="338916"/>
                </a:cubicBezTo>
                <a:cubicBezTo>
                  <a:pt x="374257" y="338539"/>
                  <a:pt x="375105" y="337505"/>
                  <a:pt x="375293" y="336282"/>
                </a:cubicBezTo>
                <a:lnTo>
                  <a:pt x="383676" y="279467"/>
                </a:lnTo>
                <a:cubicBezTo>
                  <a:pt x="384618" y="273164"/>
                  <a:pt x="381792" y="266768"/>
                  <a:pt x="376424" y="263287"/>
                </a:cubicBezTo>
                <a:lnTo>
                  <a:pt x="357681" y="250965"/>
                </a:lnTo>
                <a:cubicBezTo>
                  <a:pt x="357021" y="250495"/>
                  <a:pt x="356174" y="250307"/>
                  <a:pt x="355420" y="250307"/>
                </a:cubicBezTo>
                <a:close/>
                <a:moveTo>
                  <a:pt x="258879" y="250307"/>
                </a:moveTo>
                <a:cubicBezTo>
                  <a:pt x="258125" y="250307"/>
                  <a:pt x="257372" y="250495"/>
                  <a:pt x="256712" y="250965"/>
                </a:cubicBezTo>
                <a:lnTo>
                  <a:pt x="237969" y="263287"/>
                </a:lnTo>
                <a:cubicBezTo>
                  <a:pt x="232601" y="266768"/>
                  <a:pt x="229775" y="273164"/>
                  <a:pt x="230717" y="279467"/>
                </a:cubicBezTo>
                <a:lnTo>
                  <a:pt x="239100" y="336282"/>
                </a:lnTo>
                <a:cubicBezTo>
                  <a:pt x="239288" y="337505"/>
                  <a:pt x="240136" y="338539"/>
                  <a:pt x="241266" y="338916"/>
                </a:cubicBezTo>
                <a:cubicBezTo>
                  <a:pt x="241643" y="339010"/>
                  <a:pt x="242019" y="339104"/>
                  <a:pt x="242396" y="339104"/>
                </a:cubicBezTo>
                <a:cubicBezTo>
                  <a:pt x="243244" y="339104"/>
                  <a:pt x="243997" y="338822"/>
                  <a:pt x="244657" y="338257"/>
                </a:cubicBezTo>
                <a:lnTo>
                  <a:pt x="292880" y="295364"/>
                </a:lnTo>
                <a:cubicBezTo>
                  <a:pt x="294481" y="293953"/>
                  <a:pt x="294670" y="291507"/>
                  <a:pt x="293351" y="289814"/>
                </a:cubicBezTo>
                <a:lnTo>
                  <a:pt x="261987" y="251812"/>
                </a:lnTo>
                <a:cubicBezTo>
                  <a:pt x="261233" y="250871"/>
                  <a:pt x="260103" y="250307"/>
                  <a:pt x="258879" y="250307"/>
                </a:cubicBezTo>
                <a:close/>
                <a:moveTo>
                  <a:pt x="500465" y="66049"/>
                </a:moveTo>
                <a:cubicBezTo>
                  <a:pt x="548129" y="66049"/>
                  <a:pt x="562447" y="93516"/>
                  <a:pt x="565743" y="130673"/>
                </a:cubicBezTo>
                <a:cubicBezTo>
                  <a:pt x="565932" y="130673"/>
                  <a:pt x="566026" y="130673"/>
                  <a:pt x="566120" y="130673"/>
                </a:cubicBezTo>
                <a:cubicBezTo>
                  <a:pt x="577141" y="133118"/>
                  <a:pt x="583358" y="146664"/>
                  <a:pt x="580250" y="160962"/>
                </a:cubicBezTo>
                <a:cubicBezTo>
                  <a:pt x="577706" y="172532"/>
                  <a:pt x="569700" y="180904"/>
                  <a:pt x="560939" y="182503"/>
                </a:cubicBezTo>
                <a:cubicBezTo>
                  <a:pt x="554628" y="199529"/>
                  <a:pt x="543796" y="214016"/>
                  <a:pt x="531927" y="223799"/>
                </a:cubicBezTo>
                <a:cubicBezTo>
                  <a:pt x="528913" y="226338"/>
                  <a:pt x="527500" y="230383"/>
                  <a:pt x="528253" y="234240"/>
                </a:cubicBezTo>
                <a:lnTo>
                  <a:pt x="530797" y="246281"/>
                </a:lnTo>
                <a:cubicBezTo>
                  <a:pt x="532304" y="253806"/>
                  <a:pt x="538238" y="259732"/>
                  <a:pt x="545868" y="261143"/>
                </a:cubicBezTo>
                <a:lnTo>
                  <a:pt x="558961" y="263777"/>
                </a:lnTo>
                <a:cubicBezTo>
                  <a:pt x="578366" y="267634"/>
                  <a:pt x="593437" y="282684"/>
                  <a:pt x="597299" y="301968"/>
                </a:cubicBezTo>
                <a:lnTo>
                  <a:pt x="607002" y="350788"/>
                </a:lnTo>
                <a:cubicBezTo>
                  <a:pt x="608697" y="358972"/>
                  <a:pt x="606531" y="367438"/>
                  <a:pt x="601256" y="373835"/>
                </a:cubicBezTo>
                <a:cubicBezTo>
                  <a:pt x="595981" y="380325"/>
                  <a:pt x="588068" y="384088"/>
                  <a:pt x="579685" y="384088"/>
                </a:cubicBezTo>
                <a:lnTo>
                  <a:pt x="490386" y="384088"/>
                </a:lnTo>
                <a:lnTo>
                  <a:pt x="467685" y="310058"/>
                </a:lnTo>
                <a:cubicBezTo>
                  <a:pt x="461845" y="291150"/>
                  <a:pt x="448563" y="276194"/>
                  <a:pt x="431702" y="267445"/>
                </a:cubicBezTo>
                <a:cubicBezTo>
                  <a:pt x="434999" y="265940"/>
                  <a:pt x="438295" y="264529"/>
                  <a:pt x="441969" y="263777"/>
                </a:cubicBezTo>
                <a:lnTo>
                  <a:pt x="455157" y="261237"/>
                </a:lnTo>
                <a:cubicBezTo>
                  <a:pt x="462692" y="259732"/>
                  <a:pt x="468627" y="253806"/>
                  <a:pt x="470228" y="246281"/>
                </a:cubicBezTo>
                <a:lnTo>
                  <a:pt x="472677" y="234240"/>
                </a:lnTo>
                <a:cubicBezTo>
                  <a:pt x="473525" y="230383"/>
                  <a:pt x="472112" y="226338"/>
                  <a:pt x="469098" y="223893"/>
                </a:cubicBezTo>
                <a:cubicBezTo>
                  <a:pt x="457229" y="214016"/>
                  <a:pt x="446302" y="199529"/>
                  <a:pt x="439991" y="182503"/>
                </a:cubicBezTo>
                <a:cubicBezTo>
                  <a:pt x="434716" y="181563"/>
                  <a:pt x="429818" y="177894"/>
                  <a:pt x="426144" y="172720"/>
                </a:cubicBezTo>
                <a:cubicBezTo>
                  <a:pt x="433303" y="164725"/>
                  <a:pt x="438861" y="154754"/>
                  <a:pt x="441404" y="143278"/>
                </a:cubicBezTo>
                <a:cubicBezTo>
                  <a:pt x="444324" y="130485"/>
                  <a:pt x="443476" y="118068"/>
                  <a:pt x="439708" y="107438"/>
                </a:cubicBezTo>
                <a:cubicBezTo>
                  <a:pt x="447244" y="82699"/>
                  <a:pt x="464200" y="66049"/>
                  <a:pt x="500465" y="66049"/>
                </a:cubicBezTo>
                <a:close/>
                <a:moveTo>
                  <a:pt x="107100" y="66049"/>
                </a:moveTo>
                <a:cubicBezTo>
                  <a:pt x="151561" y="66049"/>
                  <a:pt x="166820" y="90130"/>
                  <a:pt x="171341" y="123618"/>
                </a:cubicBezTo>
                <a:cubicBezTo>
                  <a:pt x="170965" y="129920"/>
                  <a:pt x="171436" y="136505"/>
                  <a:pt x="172849" y="143278"/>
                </a:cubicBezTo>
                <a:cubicBezTo>
                  <a:pt x="174921" y="152590"/>
                  <a:pt x="178971" y="161056"/>
                  <a:pt x="184246" y="168205"/>
                </a:cubicBezTo>
                <a:cubicBezTo>
                  <a:pt x="180573" y="175919"/>
                  <a:pt x="174356" y="181281"/>
                  <a:pt x="167574" y="182503"/>
                </a:cubicBezTo>
                <a:cubicBezTo>
                  <a:pt x="161263" y="199529"/>
                  <a:pt x="150336" y="214016"/>
                  <a:pt x="138468" y="223799"/>
                </a:cubicBezTo>
                <a:cubicBezTo>
                  <a:pt x="135453" y="226338"/>
                  <a:pt x="134040" y="230383"/>
                  <a:pt x="134794" y="234240"/>
                </a:cubicBezTo>
                <a:lnTo>
                  <a:pt x="137337" y="246281"/>
                </a:lnTo>
                <a:cubicBezTo>
                  <a:pt x="138939" y="253806"/>
                  <a:pt x="144873" y="259732"/>
                  <a:pt x="152408" y="261143"/>
                </a:cubicBezTo>
                <a:lnTo>
                  <a:pt x="165596" y="263777"/>
                </a:lnTo>
                <a:cubicBezTo>
                  <a:pt x="170494" y="264812"/>
                  <a:pt x="175203" y="266505"/>
                  <a:pt x="179442" y="268856"/>
                </a:cubicBezTo>
                <a:cubicBezTo>
                  <a:pt x="164088" y="277793"/>
                  <a:pt x="152126" y="292279"/>
                  <a:pt x="146662" y="310058"/>
                </a:cubicBezTo>
                <a:lnTo>
                  <a:pt x="123867" y="384088"/>
                </a:lnTo>
                <a:lnTo>
                  <a:pt x="27883" y="384088"/>
                </a:lnTo>
                <a:cubicBezTo>
                  <a:pt x="19499" y="384088"/>
                  <a:pt x="11587" y="380325"/>
                  <a:pt x="6312" y="373835"/>
                </a:cubicBezTo>
                <a:cubicBezTo>
                  <a:pt x="1037" y="367438"/>
                  <a:pt x="-1129" y="358972"/>
                  <a:pt x="566" y="350788"/>
                </a:cubicBezTo>
                <a:lnTo>
                  <a:pt x="10268" y="301968"/>
                </a:lnTo>
                <a:cubicBezTo>
                  <a:pt x="14130" y="282684"/>
                  <a:pt x="29202" y="267634"/>
                  <a:pt x="48606" y="263777"/>
                </a:cubicBezTo>
                <a:lnTo>
                  <a:pt x="61699" y="261237"/>
                </a:lnTo>
                <a:cubicBezTo>
                  <a:pt x="69328" y="259732"/>
                  <a:pt x="75263" y="253806"/>
                  <a:pt x="76770" y="246281"/>
                </a:cubicBezTo>
                <a:lnTo>
                  <a:pt x="79313" y="234240"/>
                </a:lnTo>
                <a:cubicBezTo>
                  <a:pt x="80067" y="230383"/>
                  <a:pt x="78654" y="226338"/>
                  <a:pt x="75639" y="223893"/>
                </a:cubicBezTo>
                <a:cubicBezTo>
                  <a:pt x="63771" y="214016"/>
                  <a:pt x="52939" y="199623"/>
                  <a:pt x="46628" y="182503"/>
                </a:cubicBezTo>
                <a:cubicBezTo>
                  <a:pt x="37867" y="180904"/>
                  <a:pt x="29861" y="172532"/>
                  <a:pt x="27318" y="160962"/>
                </a:cubicBezTo>
                <a:cubicBezTo>
                  <a:pt x="24115" y="146664"/>
                  <a:pt x="30426" y="133118"/>
                  <a:pt x="41447" y="130673"/>
                </a:cubicBezTo>
                <a:cubicBezTo>
                  <a:pt x="41541" y="130673"/>
                  <a:pt x="41729" y="130673"/>
                  <a:pt x="41824" y="130673"/>
                </a:cubicBezTo>
                <a:cubicBezTo>
                  <a:pt x="45403" y="93516"/>
                  <a:pt x="60192" y="66049"/>
                  <a:pt x="107100" y="66049"/>
                </a:cubicBezTo>
                <a:close/>
                <a:moveTo>
                  <a:pt x="298626" y="0"/>
                </a:moveTo>
                <a:lnTo>
                  <a:pt x="315956" y="0"/>
                </a:lnTo>
                <a:cubicBezTo>
                  <a:pt x="363426" y="0"/>
                  <a:pt x="401854" y="38378"/>
                  <a:pt x="401854" y="85787"/>
                </a:cubicBezTo>
                <a:lnTo>
                  <a:pt x="401854" y="95476"/>
                </a:lnTo>
                <a:cubicBezTo>
                  <a:pt x="417301" y="99238"/>
                  <a:pt x="426154" y="118522"/>
                  <a:pt x="421633" y="138840"/>
                </a:cubicBezTo>
                <a:cubicBezTo>
                  <a:pt x="420880" y="142602"/>
                  <a:pt x="419467" y="146083"/>
                  <a:pt x="417960" y="149281"/>
                </a:cubicBezTo>
                <a:cubicBezTo>
                  <a:pt x="417677" y="149939"/>
                  <a:pt x="417395" y="150504"/>
                  <a:pt x="417112" y="151068"/>
                </a:cubicBezTo>
                <a:cubicBezTo>
                  <a:pt x="415417" y="154172"/>
                  <a:pt x="413533" y="157088"/>
                  <a:pt x="411273" y="159534"/>
                </a:cubicBezTo>
                <a:cubicBezTo>
                  <a:pt x="411179" y="159628"/>
                  <a:pt x="410990" y="159816"/>
                  <a:pt x="410896" y="159910"/>
                </a:cubicBezTo>
                <a:cubicBezTo>
                  <a:pt x="406092" y="165084"/>
                  <a:pt x="400159" y="168658"/>
                  <a:pt x="394037" y="169787"/>
                </a:cubicBezTo>
                <a:cubicBezTo>
                  <a:pt x="391494" y="176654"/>
                  <a:pt x="388385" y="183332"/>
                  <a:pt x="384900" y="189541"/>
                </a:cubicBezTo>
                <a:cubicBezTo>
                  <a:pt x="384806" y="189635"/>
                  <a:pt x="384806" y="189729"/>
                  <a:pt x="384712" y="189823"/>
                </a:cubicBezTo>
                <a:cubicBezTo>
                  <a:pt x="381227" y="196031"/>
                  <a:pt x="377460" y="201769"/>
                  <a:pt x="373316" y="207131"/>
                </a:cubicBezTo>
                <a:cubicBezTo>
                  <a:pt x="373127" y="207413"/>
                  <a:pt x="372939" y="207601"/>
                  <a:pt x="372750" y="207789"/>
                </a:cubicBezTo>
                <a:cubicBezTo>
                  <a:pt x="368700" y="213057"/>
                  <a:pt x="364368" y="217948"/>
                  <a:pt x="359847" y="222275"/>
                </a:cubicBezTo>
                <a:cubicBezTo>
                  <a:pt x="359658" y="222463"/>
                  <a:pt x="359376" y="222651"/>
                  <a:pt x="359188" y="222934"/>
                </a:cubicBezTo>
                <a:cubicBezTo>
                  <a:pt x="354667" y="227261"/>
                  <a:pt x="349957" y="231211"/>
                  <a:pt x="345154" y="234598"/>
                </a:cubicBezTo>
                <a:lnTo>
                  <a:pt x="345625" y="236855"/>
                </a:lnTo>
                <a:cubicBezTo>
                  <a:pt x="346567" y="236385"/>
                  <a:pt x="347603" y="235915"/>
                  <a:pt x="348639" y="235538"/>
                </a:cubicBezTo>
                <a:cubicBezTo>
                  <a:pt x="350899" y="234786"/>
                  <a:pt x="353065" y="234033"/>
                  <a:pt x="355514" y="234033"/>
                </a:cubicBezTo>
                <a:cubicBezTo>
                  <a:pt x="359470" y="234033"/>
                  <a:pt x="363238" y="235162"/>
                  <a:pt x="366628" y="237326"/>
                </a:cubicBezTo>
                <a:cubicBezTo>
                  <a:pt x="366628" y="237326"/>
                  <a:pt x="380756" y="246450"/>
                  <a:pt x="385371" y="249648"/>
                </a:cubicBezTo>
                <a:cubicBezTo>
                  <a:pt x="401854" y="261030"/>
                  <a:pt x="399876" y="279373"/>
                  <a:pt x="399876" y="279373"/>
                </a:cubicBezTo>
                <a:cubicBezTo>
                  <a:pt x="410990" y="279655"/>
                  <a:pt x="421822" y="283041"/>
                  <a:pt x="430016" y="289814"/>
                </a:cubicBezTo>
                <a:cubicBezTo>
                  <a:pt x="445180" y="302324"/>
                  <a:pt x="447535" y="313330"/>
                  <a:pt x="448382" y="316058"/>
                </a:cubicBezTo>
                <a:lnTo>
                  <a:pt x="481630" y="424515"/>
                </a:lnTo>
                <a:cubicBezTo>
                  <a:pt x="482855" y="428371"/>
                  <a:pt x="483608" y="432416"/>
                  <a:pt x="483891" y="436461"/>
                </a:cubicBezTo>
                <a:cubicBezTo>
                  <a:pt x="484644" y="448595"/>
                  <a:pt x="481159" y="460730"/>
                  <a:pt x="473718" y="470700"/>
                </a:cubicBezTo>
                <a:cubicBezTo>
                  <a:pt x="466372" y="480671"/>
                  <a:pt x="455823" y="487538"/>
                  <a:pt x="443956" y="490360"/>
                </a:cubicBezTo>
                <a:cubicBezTo>
                  <a:pt x="440000" y="491301"/>
                  <a:pt x="435950" y="491771"/>
                  <a:pt x="431805" y="491771"/>
                </a:cubicBezTo>
                <a:lnTo>
                  <a:pt x="325375" y="491771"/>
                </a:lnTo>
                <a:lnTo>
                  <a:pt x="337430" y="415296"/>
                </a:lnTo>
                <a:cubicBezTo>
                  <a:pt x="338749" y="406454"/>
                  <a:pt x="337807" y="397424"/>
                  <a:pt x="334605" y="389052"/>
                </a:cubicBezTo>
                <a:lnTo>
                  <a:pt x="323962" y="360927"/>
                </a:lnTo>
                <a:lnTo>
                  <a:pt x="337430" y="347476"/>
                </a:lnTo>
                <a:lnTo>
                  <a:pt x="307196" y="317281"/>
                </a:lnTo>
                <a:lnTo>
                  <a:pt x="276868" y="347476"/>
                </a:lnTo>
                <a:lnTo>
                  <a:pt x="290337" y="360927"/>
                </a:lnTo>
                <a:lnTo>
                  <a:pt x="279694" y="389052"/>
                </a:lnTo>
                <a:cubicBezTo>
                  <a:pt x="276586" y="397424"/>
                  <a:pt x="275644" y="406454"/>
                  <a:pt x="276963" y="415296"/>
                </a:cubicBezTo>
                <a:lnTo>
                  <a:pt x="288736" y="491771"/>
                </a:lnTo>
                <a:lnTo>
                  <a:pt x="182493" y="491771"/>
                </a:lnTo>
                <a:cubicBezTo>
                  <a:pt x="178443" y="491771"/>
                  <a:pt x="174299" y="491301"/>
                  <a:pt x="170437" y="490360"/>
                </a:cubicBezTo>
                <a:cubicBezTo>
                  <a:pt x="158570" y="487538"/>
                  <a:pt x="148021" y="480671"/>
                  <a:pt x="140675" y="470700"/>
                </a:cubicBezTo>
                <a:cubicBezTo>
                  <a:pt x="130785" y="457343"/>
                  <a:pt x="127865" y="440223"/>
                  <a:pt x="132669" y="424515"/>
                </a:cubicBezTo>
                <a:lnTo>
                  <a:pt x="166011" y="316058"/>
                </a:lnTo>
                <a:cubicBezTo>
                  <a:pt x="166858" y="313330"/>
                  <a:pt x="170908" y="300631"/>
                  <a:pt x="184377" y="289814"/>
                </a:cubicBezTo>
                <a:cubicBezTo>
                  <a:pt x="192666" y="283229"/>
                  <a:pt x="203403" y="279655"/>
                  <a:pt x="214517" y="279373"/>
                </a:cubicBezTo>
                <a:lnTo>
                  <a:pt x="214517" y="279279"/>
                </a:lnTo>
                <a:cubicBezTo>
                  <a:pt x="214140" y="273447"/>
                  <a:pt x="211880" y="260654"/>
                  <a:pt x="229022" y="249648"/>
                </a:cubicBezTo>
                <a:cubicBezTo>
                  <a:pt x="233731" y="246638"/>
                  <a:pt x="247765" y="237326"/>
                  <a:pt x="247765" y="237326"/>
                </a:cubicBezTo>
                <a:cubicBezTo>
                  <a:pt x="251061" y="235162"/>
                  <a:pt x="254923" y="234033"/>
                  <a:pt x="258879" y="234033"/>
                </a:cubicBezTo>
                <a:cubicBezTo>
                  <a:pt x="261328" y="234033"/>
                  <a:pt x="263494" y="234786"/>
                  <a:pt x="265754" y="235538"/>
                </a:cubicBezTo>
                <a:cubicBezTo>
                  <a:pt x="266790" y="236009"/>
                  <a:pt x="267826" y="236385"/>
                  <a:pt x="268768" y="236855"/>
                </a:cubicBezTo>
                <a:lnTo>
                  <a:pt x="269239" y="234598"/>
                </a:lnTo>
                <a:cubicBezTo>
                  <a:pt x="264436" y="231211"/>
                  <a:pt x="259726" y="227261"/>
                  <a:pt x="255205" y="222934"/>
                </a:cubicBezTo>
                <a:cubicBezTo>
                  <a:pt x="254923" y="222651"/>
                  <a:pt x="254735" y="222463"/>
                  <a:pt x="254546" y="222275"/>
                </a:cubicBezTo>
                <a:cubicBezTo>
                  <a:pt x="250025" y="217948"/>
                  <a:pt x="245693" y="213057"/>
                  <a:pt x="241548" y="207789"/>
                </a:cubicBezTo>
                <a:cubicBezTo>
                  <a:pt x="241454" y="207601"/>
                  <a:pt x="241266" y="207413"/>
                  <a:pt x="241077" y="207225"/>
                </a:cubicBezTo>
                <a:cubicBezTo>
                  <a:pt x="236933" y="201769"/>
                  <a:pt x="233072" y="196031"/>
                  <a:pt x="229681" y="189823"/>
                </a:cubicBezTo>
                <a:cubicBezTo>
                  <a:pt x="229587" y="189729"/>
                  <a:pt x="229587" y="189635"/>
                  <a:pt x="229493" y="189635"/>
                </a:cubicBezTo>
                <a:cubicBezTo>
                  <a:pt x="226008" y="183332"/>
                  <a:pt x="222899" y="176654"/>
                  <a:pt x="220356" y="169787"/>
                </a:cubicBezTo>
                <a:cubicBezTo>
                  <a:pt x="214140" y="168658"/>
                  <a:pt x="208301" y="165084"/>
                  <a:pt x="203497" y="159910"/>
                </a:cubicBezTo>
                <a:cubicBezTo>
                  <a:pt x="203309" y="159722"/>
                  <a:pt x="203214" y="159628"/>
                  <a:pt x="203120" y="159534"/>
                </a:cubicBezTo>
                <a:cubicBezTo>
                  <a:pt x="200860" y="157088"/>
                  <a:pt x="198976" y="154172"/>
                  <a:pt x="197281" y="151068"/>
                </a:cubicBezTo>
                <a:cubicBezTo>
                  <a:pt x="196998" y="150504"/>
                  <a:pt x="196716" y="149939"/>
                  <a:pt x="196433" y="149281"/>
                </a:cubicBezTo>
                <a:cubicBezTo>
                  <a:pt x="194832" y="146083"/>
                  <a:pt x="193513" y="142602"/>
                  <a:pt x="192666" y="138840"/>
                </a:cubicBezTo>
                <a:cubicBezTo>
                  <a:pt x="188145" y="118428"/>
                  <a:pt x="197092" y="99050"/>
                  <a:pt x="212727" y="95476"/>
                </a:cubicBezTo>
                <a:lnTo>
                  <a:pt x="212727" y="85787"/>
                </a:lnTo>
                <a:cubicBezTo>
                  <a:pt x="212727" y="38378"/>
                  <a:pt x="251155" y="0"/>
                  <a:pt x="29862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C93B5FCA-6FE9-4A18-8F9E-53AEBF4DA6ED}"/>
              </a:ext>
            </a:extLst>
          </p:cNvPr>
          <p:cNvSpPr txBox="1"/>
          <p:nvPr/>
        </p:nvSpPr>
        <p:spPr bwMode="auto">
          <a:xfrm>
            <a:off x="7759412" y="1409383"/>
            <a:ext cx="375948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9DA2EFBC-4398-45ED-9BDB-6639DD6BF734}"/>
              </a:ext>
            </a:extLst>
          </p:cNvPr>
          <p:cNvSpPr/>
          <p:nvPr/>
        </p:nvSpPr>
        <p:spPr bwMode="auto">
          <a:xfrm>
            <a:off x="7759412" y="1851189"/>
            <a:ext cx="3759488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D1AD1AF0-EC36-4297-B278-E33CE23C26A4}"/>
              </a:ext>
            </a:extLst>
          </p:cNvPr>
          <p:cNvSpPr txBox="1"/>
          <p:nvPr/>
        </p:nvSpPr>
        <p:spPr bwMode="auto">
          <a:xfrm>
            <a:off x="7759412" y="2984170"/>
            <a:ext cx="375948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C002EC97-147A-4115-9FC7-23E63F5FAA49}"/>
              </a:ext>
            </a:extLst>
          </p:cNvPr>
          <p:cNvSpPr/>
          <p:nvPr/>
        </p:nvSpPr>
        <p:spPr bwMode="auto">
          <a:xfrm>
            <a:off x="7759412" y="3425976"/>
            <a:ext cx="3759488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B025291B-7DE1-4CE2-833C-E64099AC21B8}"/>
              </a:ext>
            </a:extLst>
          </p:cNvPr>
          <p:cNvSpPr txBox="1"/>
          <p:nvPr/>
        </p:nvSpPr>
        <p:spPr bwMode="auto">
          <a:xfrm>
            <a:off x="7759412" y="4558956"/>
            <a:ext cx="375948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8E6425F4-91F2-4213-843F-C01F2E6228BD}"/>
              </a:ext>
            </a:extLst>
          </p:cNvPr>
          <p:cNvSpPr/>
          <p:nvPr/>
        </p:nvSpPr>
        <p:spPr bwMode="auto">
          <a:xfrm>
            <a:off x="7759412" y="5000762"/>
            <a:ext cx="3759488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0ED4E933-2E1F-4076-85D6-9D03E995FD4A}"/>
              </a:ext>
            </a:extLst>
          </p:cNvPr>
          <p:cNvCxnSpPr>
            <a:cxnSpLocks/>
          </p:cNvCxnSpPr>
          <p:nvPr/>
        </p:nvCxnSpPr>
        <p:spPr>
          <a:xfrm>
            <a:off x="7881452" y="2851157"/>
            <a:ext cx="36374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3CABB0B8-EE5A-4084-BDAE-60419672F43F}"/>
              </a:ext>
            </a:extLst>
          </p:cNvPr>
          <p:cNvCxnSpPr>
            <a:cxnSpLocks/>
          </p:cNvCxnSpPr>
          <p:nvPr/>
        </p:nvCxnSpPr>
        <p:spPr>
          <a:xfrm>
            <a:off x="7881452" y="4425944"/>
            <a:ext cx="36374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文本框 18">
            <a:extLst>
              <a:ext uri="{FF2B5EF4-FFF2-40B4-BE49-F238E27FC236}">
                <a16:creationId xmlns:a16="http://schemas.microsoft.com/office/drawing/2014/main" id="{0CFF5FF2-91A9-42D5-B650-80A4E9D7F746}"/>
              </a:ext>
            </a:extLst>
          </p:cNvPr>
          <p:cNvSpPr txBox="1"/>
          <p:nvPr/>
        </p:nvSpPr>
        <p:spPr bwMode="auto">
          <a:xfrm>
            <a:off x="673100" y="1409383"/>
            <a:ext cx="375948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C80718BF-96CC-4C0A-937B-0F5BB3F66D82}"/>
              </a:ext>
            </a:extLst>
          </p:cNvPr>
          <p:cNvSpPr/>
          <p:nvPr/>
        </p:nvSpPr>
        <p:spPr bwMode="auto">
          <a:xfrm>
            <a:off x="673100" y="1851189"/>
            <a:ext cx="3759488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8034C10-4B38-4F1D-B43A-132EE05D117F}"/>
              </a:ext>
            </a:extLst>
          </p:cNvPr>
          <p:cNvSpPr txBox="1"/>
          <p:nvPr/>
        </p:nvSpPr>
        <p:spPr bwMode="auto">
          <a:xfrm>
            <a:off x="673100" y="2984170"/>
            <a:ext cx="375948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905B12AC-8AC5-4A50-B208-806FD77AA5E2}"/>
              </a:ext>
            </a:extLst>
          </p:cNvPr>
          <p:cNvSpPr/>
          <p:nvPr/>
        </p:nvSpPr>
        <p:spPr bwMode="auto">
          <a:xfrm>
            <a:off x="673100" y="3425976"/>
            <a:ext cx="3759488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B05893D-ABD6-4C29-B080-202B66FAFC8A}"/>
              </a:ext>
            </a:extLst>
          </p:cNvPr>
          <p:cNvSpPr txBox="1"/>
          <p:nvPr/>
        </p:nvSpPr>
        <p:spPr bwMode="auto">
          <a:xfrm>
            <a:off x="673100" y="4558956"/>
            <a:ext cx="375948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D2FF28E5-8539-48D4-AB88-6A6B1C2A84E5}"/>
              </a:ext>
            </a:extLst>
          </p:cNvPr>
          <p:cNvSpPr/>
          <p:nvPr/>
        </p:nvSpPr>
        <p:spPr bwMode="auto">
          <a:xfrm>
            <a:off x="673100" y="5000762"/>
            <a:ext cx="3759488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EA2865E4-11AC-4FDE-B1A4-CA79DAB4942D}"/>
              </a:ext>
            </a:extLst>
          </p:cNvPr>
          <p:cNvCxnSpPr>
            <a:cxnSpLocks/>
          </p:cNvCxnSpPr>
          <p:nvPr/>
        </p:nvCxnSpPr>
        <p:spPr>
          <a:xfrm>
            <a:off x="795140" y="2851157"/>
            <a:ext cx="36374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215CF382-DFB9-4416-A3DA-5CD163E64072}"/>
              </a:ext>
            </a:extLst>
          </p:cNvPr>
          <p:cNvCxnSpPr>
            <a:cxnSpLocks/>
          </p:cNvCxnSpPr>
          <p:nvPr/>
        </p:nvCxnSpPr>
        <p:spPr>
          <a:xfrm>
            <a:off x="795140" y="4425944"/>
            <a:ext cx="36374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009B2E38-7937-40B4-9DF3-D4686887CFE0}"/>
              </a:ext>
            </a:extLst>
          </p:cNvPr>
          <p:cNvSpPr txBox="1"/>
          <p:nvPr/>
        </p:nvSpPr>
        <p:spPr bwMode="auto">
          <a:xfrm>
            <a:off x="5353450" y="1752014"/>
            <a:ext cx="1485100" cy="587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 err="1">
                <a:solidFill>
                  <a:schemeClr val="accent2"/>
                </a:solidFill>
                <a:cs typeface="+mn-ea"/>
                <a:sym typeface="+mn-lt"/>
              </a:rPr>
              <a:t>Te</a:t>
            </a:r>
            <a:r>
              <a:rPr lang="en-US" altLang="zh-CN" sz="100" b="1" dirty="0">
                <a:solidFill>
                  <a:schemeClr val="accent2"/>
                </a:solidFill>
                <a:cs typeface="+mn-ea"/>
                <a:sym typeface="+mn-lt"/>
              </a:rPr>
              <a:t> </a:t>
            </a:r>
            <a:r>
              <a:rPr lang="en-US" altLang="zh-CN" sz="2000" b="1" dirty="0" err="1">
                <a:solidFill>
                  <a:schemeClr val="accent2"/>
                </a:solidFill>
                <a:cs typeface="+mn-ea"/>
                <a:sym typeface="+mn-lt"/>
              </a:rPr>
              <a:t>xt</a:t>
            </a:r>
            <a:endParaRPr lang="en-US" altLang="zh-CN" sz="20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62766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共场所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椭圆 5"/>
          <p:cNvSpPr/>
          <p:nvPr/>
        </p:nvSpPr>
        <p:spPr>
          <a:xfrm>
            <a:off x="1066800" y="2647452"/>
            <a:ext cx="1651000" cy="1651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re</a:t>
            </a:r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9474200" y="2647452"/>
            <a:ext cx="1651000" cy="1651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re</a:t>
            </a:r>
            <a:endParaRPr lang="en-US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6" name="弧形 25"/>
          <p:cNvSpPr/>
          <p:nvPr/>
        </p:nvSpPr>
        <p:spPr>
          <a:xfrm>
            <a:off x="2506184" y="2287089"/>
            <a:ext cx="7128832" cy="1236663"/>
          </a:xfrm>
          <a:prstGeom prst="arc">
            <a:avLst>
              <a:gd name="adj1" fmla="val 10795226"/>
              <a:gd name="adj2" fmla="val 0"/>
            </a:avLst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27" name="弧形 26"/>
          <p:cNvSpPr/>
          <p:nvPr/>
        </p:nvSpPr>
        <p:spPr>
          <a:xfrm>
            <a:off x="2013984" y="1431430"/>
            <a:ext cx="8394701" cy="2793999"/>
          </a:xfrm>
          <a:prstGeom prst="arc">
            <a:avLst>
              <a:gd name="adj1" fmla="val 10951277"/>
              <a:gd name="adj2" fmla="val 21465256"/>
            </a:avLst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28" name="弧形 27"/>
          <p:cNvSpPr/>
          <p:nvPr/>
        </p:nvSpPr>
        <p:spPr>
          <a:xfrm rot="10800000">
            <a:off x="2013984" y="2720476"/>
            <a:ext cx="8394701" cy="2793999"/>
          </a:xfrm>
          <a:prstGeom prst="arc">
            <a:avLst>
              <a:gd name="adj1" fmla="val 10932148"/>
              <a:gd name="adj2" fmla="val 21465256"/>
            </a:avLst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29" name="弧形 28"/>
          <p:cNvSpPr/>
          <p:nvPr/>
        </p:nvSpPr>
        <p:spPr>
          <a:xfrm rot="10800000">
            <a:off x="2413074" y="3517400"/>
            <a:ext cx="7327825" cy="1149351"/>
          </a:xfrm>
          <a:prstGeom prst="arc">
            <a:avLst>
              <a:gd name="adj1" fmla="val 10795226"/>
              <a:gd name="adj2" fmla="val 0"/>
            </a:avLst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cxnSp>
        <p:nvCxnSpPr>
          <p:cNvPr id="30" name="直接连接符 29"/>
          <p:cNvCxnSpPr/>
          <p:nvPr/>
        </p:nvCxnSpPr>
        <p:spPr>
          <a:xfrm>
            <a:off x="2717800" y="3485651"/>
            <a:ext cx="67665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: 圆角 23"/>
          <p:cNvSpPr/>
          <p:nvPr/>
        </p:nvSpPr>
        <p:spPr>
          <a:xfrm>
            <a:off x="5592899" y="1268843"/>
            <a:ext cx="1236870" cy="37584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i="1">
                <a:cs typeface="+mn-ea"/>
                <a:sym typeface="+mn-lt"/>
              </a:rPr>
              <a:t>Text he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b="1" i="1">
                <a:cs typeface="+mn-ea"/>
                <a:sym typeface="+mn-lt"/>
              </a:rPr>
              <a:t>re</a:t>
            </a:r>
            <a:endParaRPr lang="en-US" altLang="zh-CN" b="1" i="1" dirty="0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8316902B-9F15-4AE4-BBCF-5E1CB0686F18}"/>
              </a:ext>
            </a:extLst>
          </p:cNvPr>
          <p:cNvSpPr/>
          <p:nvPr/>
        </p:nvSpPr>
        <p:spPr bwMode="auto">
          <a:xfrm>
            <a:off x="4272047" y="1644691"/>
            <a:ext cx="3878574" cy="3240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x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2" name="矩形: 圆角 21"/>
          <p:cNvSpPr/>
          <p:nvPr/>
        </p:nvSpPr>
        <p:spPr>
          <a:xfrm>
            <a:off x="5592899" y="2104120"/>
            <a:ext cx="1236870" cy="37584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i="1">
                <a:cs typeface="+mn-ea"/>
                <a:sym typeface="+mn-lt"/>
              </a:rPr>
              <a:t>Text he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b="1" i="1">
                <a:cs typeface="+mn-ea"/>
                <a:sym typeface="+mn-lt"/>
              </a:rPr>
              <a:t>re</a:t>
            </a:r>
            <a:endParaRPr lang="en-US" altLang="zh-CN" b="1" i="1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316902B-9F15-4AE4-BBCF-5E1CB0686F18}"/>
              </a:ext>
            </a:extLst>
          </p:cNvPr>
          <p:cNvSpPr/>
          <p:nvPr/>
        </p:nvSpPr>
        <p:spPr bwMode="auto">
          <a:xfrm>
            <a:off x="4272047" y="2479968"/>
            <a:ext cx="3878574" cy="3240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x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0" name="矩形: 圆角 19"/>
          <p:cNvSpPr/>
          <p:nvPr/>
        </p:nvSpPr>
        <p:spPr>
          <a:xfrm>
            <a:off x="5592899" y="3295942"/>
            <a:ext cx="1236870" cy="3758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i="1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 b="1" i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b="1" i="1">
                <a:solidFill>
                  <a:schemeClr val="tx1"/>
                </a:solidFill>
                <a:cs typeface="+mn-ea"/>
                <a:sym typeface="+mn-lt"/>
              </a:rPr>
              <a:t>re</a:t>
            </a:r>
            <a:endParaRPr lang="en-US" altLang="zh-CN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316902B-9F15-4AE4-BBCF-5E1CB0686F18}"/>
              </a:ext>
            </a:extLst>
          </p:cNvPr>
          <p:cNvSpPr/>
          <p:nvPr/>
        </p:nvSpPr>
        <p:spPr bwMode="auto">
          <a:xfrm>
            <a:off x="4272047" y="3671790"/>
            <a:ext cx="3878574" cy="3240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x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8" name="矩形: 圆角 17"/>
          <p:cNvSpPr/>
          <p:nvPr/>
        </p:nvSpPr>
        <p:spPr>
          <a:xfrm>
            <a:off x="5592899" y="4475065"/>
            <a:ext cx="1236870" cy="37584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i="1">
                <a:cs typeface="+mn-ea"/>
                <a:sym typeface="+mn-lt"/>
              </a:rPr>
              <a:t>Text he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b="1" i="1">
                <a:cs typeface="+mn-ea"/>
                <a:sym typeface="+mn-lt"/>
              </a:rPr>
              <a:t>re</a:t>
            </a:r>
            <a:endParaRPr lang="en-US" altLang="zh-CN" b="1" i="1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8316902B-9F15-4AE4-BBCF-5E1CB0686F18}"/>
              </a:ext>
            </a:extLst>
          </p:cNvPr>
          <p:cNvSpPr/>
          <p:nvPr/>
        </p:nvSpPr>
        <p:spPr bwMode="auto">
          <a:xfrm>
            <a:off x="4272047" y="4850913"/>
            <a:ext cx="3878574" cy="3240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x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6" name="矩形: 圆角 15"/>
          <p:cNvSpPr/>
          <p:nvPr/>
        </p:nvSpPr>
        <p:spPr>
          <a:xfrm>
            <a:off x="5592899" y="5308410"/>
            <a:ext cx="1236870" cy="37584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i="1">
                <a:cs typeface="+mn-ea"/>
                <a:sym typeface="+mn-lt"/>
              </a:rPr>
              <a:t>Text he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b="1" i="1">
                <a:cs typeface="+mn-ea"/>
                <a:sym typeface="+mn-lt"/>
              </a:rPr>
              <a:t>re</a:t>
            </a:r>
            <a:endParaRPr lang="en-US" altLang="zh-CN" b="1" i="1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316902B-9F15-4AE4-BBCF-5E1CB0686F18}"/>
              </a:ext>
            </a:extLst>
          </p:cNvPr>
          <p:cNvSpPr/>
          <p:nvPr/>
        </p:nvSpPr>
        <p:spPr bwMode="auto">
          <a:xfrm>
            <a:off x="4272047" y="5684258"/>
            <a:ext cx="3878574" cy="3240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x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490AFCD5-9CF9-478D-B619-714B3BD11B60}"/>
              </a:ext>
            </a:extLst>
          </p:cNvPr>
          <p:cNvSpPr/>
          <p:nvPr/>
        </p:nvSpPr>
        <p:spPr bwMode="auto">
          <a:xfrm>
            <a:off x="1532618" y="2957414"/>
            <a:ext cx="719366" cy="629692"/>
          </a:xfrm>
          <a:custGeom>
            <a:avLst/>
            <a:gdLst>
              <a:gd name="T0" fmla="*/ 215 w 406"/>
              <a:gd name="T1" fmla="*/ 162 h 356"/>
              <a:gd name="T2" fmla="*/ 157 w 406"/>
              <a:gd name="T3" fmla="*/ 102 h 356"/>
              <a:gd name="T4" fmla="*/ 19 w 406"/>
              <a:gd name="T5" fmla="*/ 242 h 356"/>
              <a:gd name="T6" fmla="*/ 0 w 406"/>
              <a:gd name="T7" fmla="*/ 224 h 356"/>
              <a:gd name="T8" fmla="*/ 157 w 406"/>
              <a:gd name="T9" fmla="*/ 64 h 356"/>
              <a:gd name="T10" fmla="*/ 216 w 406"/>
              <a:gd name="T11" fmla="*/ 124 h 356"/>
              <a:gd name="T12" fmla="*/ 315 w 406"/>
              <a:gd name="T13" fmla="*/ 28 h 356"/>
              <a:gd name="T14" fmla="*/ 287 w 406"/>
              <a:gd name="T15" fmla="*/ 0 h 356"/>
              <a:gd name="T16" fmla="*/ 362 w 406"/>
              <a:gd name="T17" fmla="*/ 0 h 356"/>
              <a:gd name="T18" fmla="*/ 362 w 406"/>
              <a:gd name="T19" fmla="*/ 74 h 356"/>
              <a:gd name="T20" fmla="*/ 334 w 406"/>
              <a:gd name="T21" fmla="*/ 47 h 356"/>
              <a:gd name="T22" fmla="*/ 215 w 406"/>
              <a:gd name="T23" fmla="*/ 162 h 356"/>
              <a:gd name="T24" fmla="*/ 66 w 406"/>
              <a:gd name="T25" fmla="*/ 356 h 356"/>
              <a:gd name="T26" fmla="*/ 156 w 406"/>
              <a:gd name="T27" fmla="*/ 356 h 356"/>
              <a:gd name="T28" fmla="*/ 156 w 406"/>
              <a:gd name="T29" fmla="*/ 230 h 356"/>
              <a:gd name="T30" fmla="*/ 66 w 406"/>
              <a:gd name="T31" fmla="*/ 230 h 356"/>
              <a:gd name="T32" fmla="*/ 66 w 406"/>
              <a:gd name="T33" fmla="*/ 356 h 356"/>
              <a:gd name="T34" fmla="*/ 191 w 406"/>
              <a:gd name="T35" fmla="*/ 356 h 356"/>
              <a:gd name="T36" fmla="*/ 281 w 406"/>
              <a:gd name="T37" fmla="*/ 356 h 356"/>
              <a:gd name="T38" fmla="*/ 281 w 406"/>
              <a:gd name="T39" fmla="*/ 190 h 356"/>
              <a:gd name="T40" fmla="*/ 191 w 406"/>
              <a:gd name="T41" fmla="*/ 190 h 356"/>
              <a:gd name="T42" fmla="*/ 191 w 406"/>
              <a:gd name="T43" fmla="*/ 356 h 356"/>
              <a:gd name="T44" fmla="*/ 316 w 406"/>
              <a:gd name="T45" fmla="*/ 106 h 356"/>
              <a:gd name="T46" fmla="*/ 316 w 406"/>
              <a:gd name="T47" fmla="*/ 356 h 356"/>
              <a:gd name="T48" fmla="*/ 406 w 406"/>
              <a:gd name="T49" fmla="*/ 356 h 356"/>
              <a:gd name="T50" fmla="*/ 406 w 406"/>
              <a:gd name="T51" fmla="*/ 106 h 356"/>
              <a:gd name="T52" fmla="*/ 316 w 406"/>
              <a:gd name="T53" fmla="*/ 106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6" h="356">
                <a:moveTo>
                  <a:pt x="215" y="162"/>
                </a:moveTo>
                <a:lnTo>
                  <a:pt x="157" y="102"/>
                </a:lnTo>
                <a:lnTo>
                  <a:pt x="19" y="242"/>
                </a:lnTo>
                <a:lnTo>
                  <a:pt x="0" y="224"/>
                </a:lnTo>
                <a:lnTo>
                  <a:pt x="157" y="64"/>
                </a:lnTo>
                <a:lnTo>
                  <a:pt x="216" y="124"/>
                </a:lnTo>
                <a:lnTo>
                  <a:pt x="315" y="28"/>
                </a:lnTo>
                <a:lnTo>
                  <a:pt x="287" y="0"/>
                </a:lnTo>
                <a:lnTo>
                  <a:pt x="362" y="0"/>
                </a:lnTo>
                <a:lnTo>
                  <a:pt x="362" y="74"/>
                </a:lnTo>
                <a:lnTo>
                  <a:pt x="334" y="47"/>
                </a:lnTo>
                <a:lnTo>
                  <a:pt x="215" y="162"/>
                </a:lnTo>
                <a:close/>
                <a:moveTo>
                  <a:pt x="66" y="356"/>
                </a:moveTo>
                <a:lnTo>
                  <a:pt x="156" y="356"/>
                </a:lnTo>
                <a:lnTo>
                  <a:pt x="156" y="230"/>
                </a:lnTo>
                <a:lnTo>
                  <a:pt x="66" y="230"/>
                </a:lnTo>
                <a:lnTo>
                  <a:pt x="66" y="356"/>
                </a:lnTo>
                <a:close/>
                <a:moveTo>
                  <a:pt x="191" y="356"/>
                </a:moveTo>
                <a:lnTo>
                  <a:pt x="281" y="356"/>
                </a:lnTo>
                <a:lnTo>
                  <a:pt x="281" y="190"/>
                </a:lnTo>
                <a:lnTo>
                  <a:pt x="191" y="190"/>
                </a:lnTo>
                <a:lnTo>
                  <a:pt x="191" y="356"/>
                </a:lnTo>
                <a:close/>
                <a:moveTo>
                  <a:pt x="316" y="106"/>
                </a:moveTo>
                <a:lnTo>
                  <a:pt x="316" y="356"/>
                </a:lnTo>
                <a:lnTo>
                  <a:pt x="406" y="356"/>
                </a:lnTo>
                <a:lnTo>
                  <a:pt x="406" y="106"/>
                </a:lnTo>
                <a:lnTo>
                  <a:pt x="316" y="10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083CF134-43DA-4212-A938-C5109E306E92}"/>
              </a:ext>
            </a:extLst>
          </p:cNvPr>
          <p:cNvSpPr/>
          <p:nvPr/>
        </p:nvSpPr>
        <p:spPr bwMode="auto">
          <a:xfrm>
            <a:off x="9940925" y="2914027"/>
            <a:ext cx="717550" cy="716468"/>
          </a:xfrm>
          <a:custGeom>
            <a:avLst/>
            <a:gdLst>
              <a:gd name="connsiteX0" fmla="*/ 402120 w 607639"/>
              <a:gd name="connsiteY0" fmla="*/ 85874 h 606722"/>
              <a:gd name="connsiteX1" fmla="*/ 607639 w 607639"/>
              <a:gd name="connsiteY1" fmla="*/ 342965 h 606722"/>
              <a:gd name="connsiteX2" fmla="*/ 343375 w 607639"/>
              <a:gd name="connsiteY2" fmla="*/ 606722 h 606722"/>
              <a:gd name="connsiteX3" fmla="*/ 85965 w 607639"/>
              <a:gd name="connsiteY3" fmla="*/ 401529 h 606722"/>
              <a:gd name="connsiteX4" fmla="*/ 91128 w 607639"/>
              <a:gd name="connsiteY4" fmla="*/ 379223 h 606722"/>
              <a:gd name="connsiteX5" fmla="*/ 111777 w 607639"/>
              <a:gd name="connsiteY5" fmla="*/ 369270 h 606722"/>
              <a:gd name="connsiteX6" fmla="*/ 369811 w 607639"/>
              <a:gd name="connsiteY6" fmla="*/ 369270 h 606722"/>
              <a:gd name="connsiteX7" fmla="*/ 369811 w 607639"/>
              <a:gd name="connsiteY7" fmla="*/ 111645 h 606722"/>
              <a:gd name="connsiteX8" fmla="*/ 379779 w 607639"/>
              <a:gd name="connsiteY8" fmla="*/ 91028 h 606722"/>
              <a:gd name="connsiteX9" fmla="*/ 402120 w 607639"/>
              <a:gd name="connsiteY9" fmla="*/ 85874 h 606722"/>
              <a:gd name="connsiteX10" fmla="*/ 290615 w 607639"/>
              <a:gd name="connsiteY10" fmla="*/ 0 h 606722"/>
              <a:gd name="connsiteX11" fmla="*/ 317051 w 607639"/>
              <a:gd name="connsiteY11" fmla="*/ 26394 h 606722"/>
              <a:gd name="connsiteX12" fmla="*/ 317051 w 607639"/>
              <a:gd name="connsiteY12" fmla="*/ 290163 h 606722"/>
              <a:gd name="connsiteX13" fmla="*/ 290615 w 607639"/>
              <a:gd name="connsiteY13" fmla="*/ 316557 h 606722"/>
              <a:gd name="connsiteX14" fmla="*/ 26436 w 607639"/>
              <a:gd name="connsiteY14" fmla="*/ 316557 h 606722"/>
              <a:gd name="connsiteX15" fmla="*/ 0 w 607639"/>
              <a:gd name="connsiteY15" fmla="*/ 290163 h 606722"/>
              <a:gd name="connsiteX16" fmla="*/ 290615 w 607639"/>
              <a:gd name="connsiteY16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7639" h="606722">
                <a:moveTo>
                  <a:pt x="402120" y="85874"/>
                </a:moveTo>
                <a:cubicBezTo>
                  <a:pt x="523082" y="113333"/>
                  <a:pt x="607639" y="218996"/>
                  <a:pt x="607639" y="342965"/>
                </a:cubicBezTo>
                <a:cubicBezTo>
                  <a:pt x="607639" y="488352"/>
                  <a:pt x="489081" y="606722"/>
                  <a:pt x="343375" y="606722"/>
                </a:cubicBezTo>
                <a:cubicBezTo>
                  <a:pt x="219388" y="606722"/>
                  <a:pt x="113469" y="522299"/>
                  <a:pt x="85965" y="401529"/>
                </a:cubicBezTo>
                <a:cubicBezTo>
                  <a:pt x="84185" y="393708"/>
                  <a:pt x="86054" y="385533"/>
                  <a:pt x="91128" y="379223"/>
                </a:cubicBezTo>
                <a:cubicBezTo>
                  <a:pt x="96112" y="373002"/>
                  <a:pt x="103767" y="369270"/>
                  <a:pt x="111777" y="369270"/>
                </a:cubicBezTo>
                <a:lnTo>
                  <a:pt x="369811" y="369270"/>
                </a:lnTo>
                <a:lnTo>
                  <a:pt x="369811" y="111645"/>
                </a:lnTo>
                <a:cubicBezTo>
                  <a:pt x="369811" y="103647"/>
                  <a:pt x="373549" y="96004"/>
                  <a:pt x="379779" y="91028"/>
                </a:cubicBezTo>
                <a:cubicBezTo>
                  <a:pt x="386099" y="86051"/>
                  <a:pt x="394377" y="84185"/>
                  <a:pt x="402120" y="85874"/>
                </a:cubicBezTo>
                <a:close/>
                <a:moveTo>
                  <a:pt x="290615" y="0"/>
                </a:moveTo>
                <a:cubicBezTo>
                  <a:pt x="305213" y="0"/>
                  <a:pt x="317051" y="11820"/>
                  <a:pt x="317051" y="26394"/>
                </a:cubicBezTo>
                <a:lnTo>
                  <a:pt x="317051" y="290163"/>
                </a:lnTo>
                <a:cubicBezTo>
                  <a:pt x="317051" y="304737"/>
                  <a:pt x="305213" y="316557"/>
                  <a:pt x="290615" y="316557"/>
                </a:cubicBezTo>
                <a:lnTo>
                  <a:pt x="26436" y="316557"/>
                </a:lnTo>
                <a:cubicBezTo>
                  <a:pt x="11838" y="316557"/>
                  <a:pt x="0" y="304737"/>
                  <a:pt x="0" y="290163"/>
                </a:cubicBezTo>
                <a:cubicBezTo>
                  <a:pt x="0" y="130196"/>
                  <a:pt x="130399" y="0"/>
                  <a:pt x="290615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02056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怎样到医院就诊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580031" y="348569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5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10079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怎样到医院就诊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C31163DD-99F5-4BDA-A93B-00B461E23CA0}"/>
              </a:ext>
            </a:extLst>
          </p:cNvPr>
          <p:cNvSpPr/>
          <p:nvPr/>
        </p:nvSpPr>
        <p:spPr>
          <a:xfrm>
            <a:off x="5053800" y="2581361"/>
            <a:ext cx="2084400" cy="2084812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7" name="不完整圆 6">
            <a:extLst>
              <a:ext uri="{FF2B5EF4-FFF2-40B4-BE49-F238E27FC236}">
                <a16:creationId xmlns:a16="http://schemas.microsoft.com/office/drawing/2014/main" id="{91032A2C-9130-48E2-8645-A7FC562443D5}"/>
              </a:ext>
            </a:extLst>
          </p:cNvPr>
          <p:cNvSpPr/>
          <p:nvPr/>
        </p:nvSpPr>
        <p:spPr>
          <a:xfrm>
            <a:off x="3928063" y="1461703"/>
            <a:ext cx="2084400" cy="2084812"/>
          </a:xfrm>
          <a:prstGeom prst="pie">
            <a:avLst>
              <a:gd name="adj1" fmla="val 13300998"/>
              <a:gd name="adj2" fmla="val 10753292"/>
            </a:avLst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8" name="不完整圆 7">
            <a:extLst>
              <a:ext uri="{FF2B5EF4-FFF2-40B4-BE49-F238E27FC236}">
                <a16:creationId xmlns:a16="http://schemas.microsoft.com/office/drawing/2014/main" id="{46EE9D13-C56D-4068-B646-FABD03DB201A}"/>
              </a:ext>
            </a:extLst>
          </p:cNvPr>
          <p:cNvSpPr/>
          <p:nvPr/>
        </p:nvSpPr>
        <p:spPr>
          <a:xfrm>
            <a:off x="6191511" y="1461703"/>
            <a:ext cx="2084400" cy="2084812"/>
          </a:xfrm>
          <a:prstGeom prst="pie">
            <a:avLst>
              <a:gd name="adj1" fmla="val 0"/>
              <a:gd name="adj2" fmla="val 19151492"/>
            </a:avLst>
          </a:prstGeom>
          <a:solidFill>
            <a:schemeClr val="accent2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7A4AFA44-30DF-4B88-ABFA-23E95C5E4072}"/>
              </a:ext>
            </a:extLst>
          </p:cNvPr>
          <p:cNvSpPr/>
          <p:nvPr/>
        </p:nvSpPr>
        <p:spPr>
          <a:xfrm>
            <a:off x="6454366" y="1734085"/>
            <a:ext cx="1558691" cy="15586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DAF59A30-CCC0-4F37-A801-FDA114254605}"/>
              </a:ext>
            </a:extLst>
          </p:cNvPr>
          <p:cNvSpPr/>
          <p:nvPr/>
        </p:nvSpPr>
        <p:spPr>
          <a:xfrm>
            <a:off x="5320614" y="2844421"/>
            <a:ext cx="1558691" cy="15586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32221FCF-3004-4AF8-A83B-5E3FEA779292}"/>
              </a:ext>
            </a:extLst>
          </p:cNvPr>
          <p:cNvSpPr/>
          <p:nvPr/>
        </p:nvSpPr>
        <p:spPr>
          <a:xfrm>
            <a:off x="4186863" y="1734085"/>
            <a:ext cx="1558691" cy="15586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/>
          <a:p>
            <a:pPr lvl="0">
              <a:defRPr sz="3200">
                <a:solidFill>
                  <a:srgbClr val="FFFFFF"/>
                </a:solidFill>
              </a:defRPr>
            </a:pPr>
            <a:endParaRPr dirty="0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E17A55F9-B736-4D4F-AD5C-28C4B4AF29BB}"/>
              </a:ext>
            </a:extLst>
          </p:cNvPr>
          <p:cNvSpPr/>
          <p:nvPr/>
        </p:nvSpPr>
        <p:spPr bwMode="auto">
          <a:xfrm>
            <a:off x="669925" y="1978991"/>
            <a:ext cx="3093055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90C6CF4-C147-4E12-85B8-9C233B16ABC8}"/>
              </a:ext>
            </a:extLst>
          </p:cNvPr>
          <p:cNvSpPr txBox="1"/>
          <p:nvPr/>
        </p:nvSpPr>
        <p:spPr bwMode="auto">
          <a:xfrm>
            <a:off x="669925" y="1591393"/>
            <a:ext cx="309305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1F671C9-7150-4067-A78A-76E5BFB76B20}"/>
              </a:ext>
            </a:extLst>
          </p:cNvPr>
          <p:cNvSpPr/>
          <p:nvPr/>
        </p:nvSpPr>
        <p:spPr bwMode="auto">
          <a:xfrm>
            <a:off x="8429020" y="1978991"/>
            <a:ext cx="3093055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4082D628-C3C3-4EB5-9FBF-CEF66C281ECA}"/>
              </a:ext>
            </a:extLst>
          </p:cNvPr>
          <p:cNvSpPr txBox="1"/>
          <p:nvPr/>
        </p:nvSpPr>
        <p:spPr bwMode="auto">
          <a:xfrm>
            <a:off x="8429020" y="1591393"/>
            <a:ext cx="309305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9E77048-E878-405C-86BD-CDB98FA0CF6C}"/>
              </a:ext>
            </a:extLst>
          </p:cNvPr>
          <p:cNvSpPr/>
          <p:nvPr/>
        </p:nvSpPr>
        <p:spPr bwMode="auto">
          <a:xfrm>
            <a:off x="4165503" y="5343811"/>
            <a:ext cx="3860995" cy="674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F42CCBCA-E892-4299-867F-422976EEE7D2}"/>
              </a:ext>
            </a:extLst>
          </p:cNvPr>
          <p:cNvSpPr txBox="1"/>
          <p:nvPr/>
        </p:nvSpPr>
        <p:spPr bwMode="auto">
          <a:xfrm>
            <a:off x="4165503" y="4956212"/>
            <a:ext cx="386099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DE02779-F075-45AB-B3E5-5A2D585C154C}"/>
              </a:ext>
            </a:extLst>
          </p:cNvPr>
          <p:cNvSpPr/>
          <p:nvPr/>
        </p:nvSpPr>
        <p:spPr bwMode="auto">
          <a:xfrm>
            <a:off x="6976956" y="2266427"/>
            <a:ext cx="513510" cy="494008"/>
          </a:xfrm>
          <a:custGeom>
            <a:avLst/>
            <a:gdLst>
              <a:gd name="connsiteX0" fmla="*/ 195114 w 608814"/>
              <a:gd name="connsiteY0" fmla="*/ 351627 h 585693"/>
              <a:gd name="connsiteX1" fmla="*/ 258290 w 608814"/>
              <a:gd name="connsiteY1" fmla="*/ 351627 h 585693"/>
              <a:gd name="connsiteX2" fmla="*/ 282731 w 608814"/>
              <a:gd name="connsiteY2" fmla="*/ 376018 h 585693"/>
              <a:gd name="connsiteX3" fmla="*/ 282731 w 608814"/>
              <a:gd name="connsiteY3" fmla="*/ 561210 h 585693"/>
              <a:gd name="connsiteX4" fmla="*/ 258290 w 608814"/>
              <a:gd name="connsiteY4" fmla="*/ 585693 h 585693"/>
              <a:gd name="connsiteX5" fmla="*/ 195114 w 608814"/>
              <a:gd name="connsiteY5" fmla="*/ 585693 h 585693"/>
              <a:gd name="connsiteX6" fmla="*/ 170673 w 608814"/>
              <a:gd name="connsiteY6" fmla="*/ 561210 h 585693"/>
              <a:gd name="connsiteX7" fmla="*/ 170673 w 608814"/>
              <a:gd name="connsiteY7" fmla="*/ 376018 h 585693"/>
              <a:gd name="connsiteX8" fmla="*/ 195114 w 608814"/>
              <a:gd name="connsiteY8" fmla="*/ 351627 h 585693"/>
              <a:gd name="connsiteX9" fmla="*/ 358100 w 608814"/>
              <a:gd name="connsiteY9" fmla="*/ 249872 h 585693"/>
              <a:gd name="connsiteX10" fmla="*/ 421316 w 608814"/>
              <a:gd name="connsiteY10" fmla="*/ 249872 h 585693"/>
              <a:gd name="connsiteX11" fmla="*/ 445737 w 608814"/>
              <a:gd name="connsiteY11" fmla="*/ 274267 h 585693"/>
              <a:gd name="connsiteX12" fmla="*/ 445737 w 608814"/>
              <a:gd name="connsiteY12" fmla="*/ 561206 h 585693"/>
              <a:gd name="connsiteX13" fmla="*/ 421316 w 608814"/>
              <a:gd name="connsiteY13" fmla="*/ 585693 h 585693"/>
              <a:gd name="connsiteX14" fmla="*/ 358100 w 608814"/>
              <a:gd name="connsiteY14" fmla="*/ 585693 h 585693"/>
              <a:gd name="connsiteX15" fmla="*/ 333679 w 608814"/>
              <a:gd name="connsiteY15" fmla="*/ 561206 h 585693"/>
              <a:gd name="connsiteX16" fmla="*/ 333679 w 608814"/>
              <a:gd name="connsiteY16" fmla="*/ 274267 h 585693"/>
              <a:gd name="connsiteX17" fmla="*/ 358100 w 608814"/>
              <a:gd name="connsiteY17" fmla="*/ 249872 h 585693"/>
              <a:gd name="connsiteX18" fmla="*/ 140260 w 608814"/>
              <a:gd name="connsiteY18" fmla="*/ 224680 h 585693"/>
              <a:gd name="connsiteX19" fmla="*/ 191844 w 608814"/>
              <a:gd name="connsiteY19" fmla="*/ 276122 h 585693"/>
              <a:gd name="connsiteX20" fmla="*/ 140260 w 608814"/>
              <a:gd name="connsiteY20" fmla="*/ 327564 h 585693"/>
              <a:gd name="connsiteX21" fmla="*/ 88676 w 608814"/>
              <a:gd name="connsiteY21" fmla="*/ 276122 h 585693"/>
              <a:gd name="connsiteX22" fmla="*/ 140260 w 608814"/>
              <a:gd name="connsiteY22" fmla="*/ 224680 h 585693"/>
              <a:gd name="connsiteX23" fmla="*/ 521177 w 608814"/>
              <a:gd name="connsiteY23" fmla="*/ 148117 h 585693"/>
              <a:gd name="connsiteX24" fmla="*/ 584301 w 608814"/>
              <a:gd name="connsiteY24" fmla="*/ 148117 h 585693"/>
              <a:gd name="connsiteX25" fmla="*/ 608814 w 608814"/>
              <a:gd name="connsiteY25" fmla="*/ 172601 h 585693"/>
              <a:gd name="connsiteX26" fmla="*/ 608814 w 608814"/>
              <a:gd name="connsiteY26" fmla="*/ 561209 h 585693"/>
              <a:gd name="connsiteX27" fmla="*/ 584301 w 608814"/>
              <a:gd name="connsiteY27" fmla="*/ 585693 h 585693"/>
              <a:gd name="connsiteX28" fmla="*/ 521177 w 608814"/>
              <a:gd name="connsiteY28" fmla="*/ 585693 h 585693"/>
              <a:gd name="connsiteX29" fmla="*/ 496756 w 608814"/>
              <a:gd name="connsiteY29" fmla="*/ 561209 h 585693"/>
              <a:gd name="connsiteX30" fmla="*/ 496756 w 608814"/>
              <a:gd name="connsiteY30" fmla="*/ 172601 h 585693"/>
              <a:gd name="connsiteX31" fmla="*/ 521177 w 608814"/>
              <a:gd name="connsiteY31" fmla="*/ 148117 h 585693"/>
              <a:gd name="connsiteX32" fmla="*/ 116229 w 608814"/>
              <a:gd name="connsiteY32" fmla="*/ 131322 h 585693"/>
              <a:gd name="connsiteX33" fmla="*/ 164246 w 608814"/>
              <a:gd name="connsiteY33" fmla="*/ 131322 h 585693"/>
              <a:gd name="connsiteX34" fmla="*/ 184061 w 608814"/>
              <a:gd name="connsiteY34" fmla="*/ 151113 h 585693"/>
              <a:gd name="connsiteX35" fmla="*/ 184061 w 608814"/>
              <a:gd name="connsiteY35" fmla="*/ 171457 h 585693"/>
              <a:gd name="connsiteX36" fmla="*/ 208669 w 608814"/>
              <a:gd name="connsiteY36" fmla="*/ 186094 h 585693"/>
              <a:gd name="connsiteX37" fmla="*/ 226641 w 608814"/>
              <a:gd name="connsiteY37" fmla="*/ 175692 h 585693"/>
              <a:gd name="connsiteX38" fmla="*/ 253737 w 608814"/>
              <a:gd name="connsiteY38" fmla="*/ 182964 h 585693"/>
              <a:gd name="connsiteX39" fmla="*/ 277792 w 608814"/>
              <a:gd name="connsiteY39" fmla="*/ 224572 h 585693"/>
              <a:gd name="connsiteX40" fmla="*/ 279727 w 608814"/>
              <a:gd name="connsiteY40" fmla="*/ 239577 h 585693"/>
              <a:gd name="connsiteX41" fmla="*/ 270511 w 608814"/>
              <a:gd name="connsiteY41" fmla="*/ 251544 h 585693"/>
              <a:gd name="connsiteX42" fmla="*/ 252355 w 608814"/>
              <a:gd name="connsiteY42" fmla="*/ 262038 h 585693"/>
              <a:gd name="connsiteX43" fmla="*/ 253829 w 608814"/>
              <a:gd name="connsiteY43" fmla="*/ 276122 h 585693"/>
              <a:gd name="connsiteX44" fmla="*/ 252355 w 608814"/>
              <a:gd name="connsiteY44" fmla="*/ 290206 h 585693"/>
              <a:gd name="connsiteX45" fmla="*/ 270511 w 608814"/>
              <a:gd name="connsiteY45" fmla="*/ 300700 h 585693"/>
              <a:gd name="connsiteX46" fmla="*/ 278714 w 608814"/>
              <a:gd name="connsiteY46" fmla="*/ 325094 h 585693"/>
              <a:gd name="connsiteX47" fmla="*/ 258253 w 608814"/>
              <a:gd name="connsiteY47" fmla="*/ 321136 h 585693"/>
              <a:gd name="connsiteX48" fmla="*/ 195858 w 608814"/>
              <a:gd name="connsiteY48" fmla="*/ 321136 h 585693"/>
              <a:gd name="connsiteX49" fmla="*/ 212171 w 608814"/>
              <a:gd name="connsiteY49" fmla="*/ 276122 h 585693"/>
              <a:gd name="connsiteX50" fmla="*/ 140191 w 608814"/>
              <a:gd name="connsiteY50" fmla="*/ 204320 h 585693"/>
              <a:gd name="connsiteX51" fmla="*/ 68304 w 608814"/>
              <a:gd name="connsiteY51" fmla="*/ 276122 h 585693"/>
              <a:gd name="connsiteX52" fmla="*/ 140191 w 608814"/>
              <a:gd name="connsiteY52" fmla="*/ 348016 h 585693"/>
              <a:gd name="connsiteX53" fmla="*/ 148486 w 608814"/>
              <a:gd name="connsiteY53" fmla="*/ 347095 h 585693"/>
              <a:gd name="connsiteX54" fmla="*/ 140099 w 608814"/>
              <a:gd name="connsiteY54" fmla="*/ 376000 h 585693"/>
              <a:gd name="connsiteX55" fmla="*/ 140099 w 608814"/>
              <a:gd name="connsiteY55" fmla="*/ 420922 h 585693"/>
              <a:gd name="connsiteX56" fmla="*/ 116229 w 608814"/>
              <a:gd name="connsiteY56" fmla="*/ 420922 h 585693"/>
              <a:gd name="connsiteX57" fmla="*/ 96413 w 608814"/>
              <a:gd name="connsiteY57" fmla="*/ 401131 h 585693"/>
              <a:gd name="connsiteX58" fmla="*/ 96413 w 608814"/>
              <a:gd name="connsiteY58" fmla="*/ 380787 h 585693"/>
              <a:gd name="connsiteX59" fmla="*/ 71806 w 608814"/>
              <a:gd name="connsiteY59" fmla="*/ 366150 h 585693"/>
              <a:gd name="connsiteX60" fmla="*/ 53742 w 608814"/>
              <a:gd name="connsiteY60" fmla="*/ 376552 h 585693"/>
              <a:gd name="connsiteX61" fmla="*/ 38719 w 608814"/>
              <a:gd name="connsiteY61" fmla="*/ 378577 h 585693"/>
              <a:gd name="connsiteX62" fmla="*/ 26738 w 608814"/>
              <a:gd name="connsiteY62" fmla="*/ 369372 h 585693"/>
              <a:gd name="connsiteX63" fmla="*/ 2683 w 608814"/>
              <a:gd name="connsiteY63" fmla="*/ 327764 h 585693"/>
              <a:gd name="connsiteX64" fmla="*/ 9872 w 608814"/>
              <a:gd name="connsiteY64" fmla="*/ 300700 h 585693"/>
              <a:gd name="connsiteX65" fmla="*/ 28120 w 608814"/>
              <a:gd name="connsiteY65" fmla="*/ 290206 h 585693"/>
              <a:gd name="connsiteX66" fmla="*/ 26645 w 608814"/>
              <a:gd name="connsiteY66" fmla="*/ 276122 h 585693"/>
              <a:gd name="connsiteX67" fmla="*/ 28120 w 608814"/>
              <a:gd name="connsiteY67" fmla="*/ 262038 h 585693"/>
              <a:gd name="connsiteX68" fmla="*/ 9872 w 608814"/>
              <a:gd name="connsiteY68" fmla="*/ 251544 h 585693"/>
              <a:gd name="connsiteX69" fmla="*/ 2683 w 608814"/>
              <a:gd name="connsiteY69" fmla="*/ 224572 h 585693"/>
              <a:gd name="connsiteX70" fmla="*/ 26738 w 608814"/>
              <a:gd name="connsiteY70" fmla="*/ 182964 h 585693"/>
              <a:gd name="connsiteX71" fmla="*/ 38719 w 608814"/>
              <a:gd name="connsiteY71" fmla="*/ 173759 h 585693"/>
              <a:gd name="connsiteX72" fmla="*/ 53742 w 608814"/>
              <a:gd name="connsiteY72" fmla="*/ 175692 h 585693"/>
              <a:gd name="connsiteX73" fmla="*/ 71806 w 608814"/>
              <a:gd name="connsiteY73" fmla="*/ 186094 h 585693"/>
              <a:gd name="connsiteX74" fmla="*/ 96413 w 608814"/>
              <a:gd name="connsiteY74" fmla="*/ 171457 h 585693"/>
              <a:gd name="connsiteX75" fmla="*/ 96413 w 608814"/>
              <a:gd name="connsiteY75" fmla="*/ 151113 h 585693"/>
              <a:gd name="connsiteX76" fmla="*/ 116229 w 608814"/>
              <a:gd name="connsiteY76" fmla="*/ 131322 h 585693"/>
              <a:gd name="connsiteX77" fmla="*/ 445756 w 608814"/>
              <a:gd name="connsiteY77" fmla="*/ 83476 h 585693"/>
              <a:gd name="connsiteX78" fmla="*/ 414140 w 608814"/>
              <a:gd name="connsiteY78" fmla="*/ 115044 h 585693"/>
              <a:gd name="connsiteX79" fmla="*/ 445756 w 608814"/>
              <a:gd name="connsiteY79" fmla="*/ 146520 h 585693"/>
              <a:gd name="connsiteX80" fmla="*/ 477371 w 608814"/>
              <a:gd name="connsiteY80" fmla="*/ 115044 h 585693"/>
              <a:gd name="connsiteX81" fmla="*/ 445756 w 608814"/>
              <a:gd name="connsiteY81" fmla="*/ 83476 h 585693"/>
              <a:gd name="connsiteX82" fmla="*/ 426676 w 608814"/>
              <a:gd name="connsiteY82" fmla="*/ 0 h 585693"/>
              <a:gd name="connsiteX83" fmla="*/ 464835 w 608814"/>
              <a:gd name="connsiteY83" fmla="*/ 0 h 585693"/>
              <a:gd name="connsiteX84" fmla="*/ 480597 w 608814"/>
              <a:gd name="connsiteY84" fmla="*/ 15738 h 585693"/>
              <a:gd name="connsiteX85" fmla="*/ 480597 w 608814"/>
              <a:gd name="connsiteY85" fmla="*/ 31936 h 585693"/>
              <a:gd name="connsiteX86" fmla="*/ 500138 w 608814"/>
              <a:gd name="connsiteY86" fmla="*/ 43533 h 585693"/>
              <a:gd name="connsiteX87" fmla="*/ 514425 w 608814"/>
              <a:gd name="connsiteY87" fmla="*/ 35249 h 585693"/>
              <a:gd name="connsiteX88" fmla="*/ 535901 w 608814"/>
              <a:gd name="connsiteY88" fmla="*/ 40956 h 585693"/>
              <a:gd name="connsiteX89" fmla="*/ 554981 w 608814"/>
              <a:gd name="connsiteY89" fmla="*/ 73996 h 585693"/>
              <a:gd name="connsiteX90" fmla="*/ 556640 w 608814"/>
              <a:gd name="connsiteY90" fmla="*/ 85961 h 585693"/>
              <a:gd name="connsiteX91" fmla="*/ 549266 w 608814"/>
              <a:gd name="connsiteY91" fmla="*/ 95440 h 585693"/>
              <a:gd name="connsiteX92" fmla="*/ 534887 w 608814"/>
              <a:gd name="connsiteY92" fmla="*/ 103815 h 585693"/>
              <a:gd name="connsiteX93" fmla="*/ 535993 w 608814"/>
              <a:gd name="connsiteY93" fmla="*/ 115044 h 585693"/>
              <a:gd name="connsiteX94" fmla="*/ 535717 w 608814"/>
              <a:gd name="connsiteY94" fmla="*/ 117621 h 585693"/>
              <a:gd name="connsiteX95" fmla="*/ 521153 w 608814"/>
              <a:gd name="connsiteY95" fmla="*/ 117621 h 585693"/>
              <a:gd name="connsiteX96" fmla="*/ 466126 w 608814"/>
              <a:gd name="connsiteY96" fmla="*/ 172565 h 585693"/>
              <a:gd name="connsiteX97" fmla="*/ 466126 w 608814"/>
              <a:gd name="connsiteY97" fmla="*/ 229719 h 585693"/>
              <a:gd name="connsiteX98" fmla="*/ 466126 w 608814"/>
              <a:gd name="connsiteY98" fmla="*/ 242604 h 585693"/>
              <a:gd name="connsiteX99" fmla="*/ 453590 w 608814"/>
              <a:gd name="connsiteY99" fmla="*/ 229995 h 585693"/>
              <a:gd name="connsiteX100" fmla="*/ 421330 w 608814"/>
              <a:gd name="connsiteY100" fmla="*/ 219319 h 585693"/>
              <a:gd name="connsiteX101" fmla="*/ 411928 w 608814"/>
              <a:gd name="connsiteY101" fmla="*/ 219319 h 585693"/>
              <a:gd name="connsiteX102" fmla="*/ 410914 w 608814"/>
              <a:gd name="connsiteY102" fmla="*/ 214257 h 585693"/>
              <a:gd name="connsiteX103" fmla="*/ 410914 w 608814"/>
              <a:gd name="connsiteY103" fmla="*/ 198059 h 585693"/>
              <a:gd name="connsiteX104" fmla="*/ 391373 w 608814"/>
              <a:gd name="connsiteY104" fmla="*/ 186463 h 585693"/>
              <a:gd name="connsiteX105" fmla="*/ 377086 w 608814"/>
              <a:gd name="connsiteY105" fmla="*/ 194746 h 585693"/>
              <a:gd name="connsiteX106" fmla="*/ 365104 w 608814"/>
              <a:gd name="connsiteY106" fmla="*/ 196310 h 585693"/>
              <a:gd name="connsiteX107" fmla="*/ 355610 w 608814"/>
              <a:gd name="connsiteY107" fmla="*/ 189040 h 585693"/>
              <a:gd name="connsiteX108" fmla="*/ 336530 w 608814"/>
              <a:gd name="connsiteY108" fmla="*/ 155999 h 585693"/>
              <a:gd name="connsiteX109" fmla="*/ 342245 w 608814"/>
              <a:gd name="connsiteY109" fmla="*/ 134463 h 585693"/>
              <a:gd name="connsiteX110" fmla="*/ 356716 w 608814"/>
              <a:gd name="connsiteY110" fmla="*/ 126180 h 585693"/>
              <a:gd name="connsiteX111" fmla="*/ 355518 w 608814"/>
              <a:gd name="connsiteY111" fmla="*/ 115044 h 585693"/>
              <a:gd name="connsiteX112" fmla="*/ 356716 w 608814"/>
              <a:gd name="connsiteY112" fmla="*/ 103815 h 585693"/>
              <a:gd name="connsiteX113" fmla="*/ 342245 w 608814"/>
              <a:gd name="connsiteY113" fmla="*/ 95440 h 585693"/>
              <a:gd name="connsiteX114" fmla="*/ 336530 w 608814"/>
              <a:gd name="connsiteY114" fmla="*/ 73996 h 585693"/>
              <a:gd name="connsiteX115" fmla="*/ 355610 w 608814"/>
              <a:gd name="connsiteY115" fmla="*/ 40956 h 585693"/>
              <a:gd name="connsiteX116" fmla="*/ 365104 w 608814"/>
              <a:gd name="connsiteY116" fmla="*/ 33685 h 585693"/>
              <a:gd name="connsiteX117" fmla="*/ 377086 w 608814"/>
              <a:gd name="connsiteY117" fmla="*/ 35249 h 585693"/>
              <a:gd name="connsiteX118" fmla="*/ 391373 w 608814"/>
              <a:gd name="connsiteY118" fmla="*/ 43533 h 585693"/>
              <a:gd name="connsiteX119" fmla="*/ 410914 w 608814"/>
              <a:gd name="connsiteY119" fmla="*/ 31936 h 585693"/>
              <a:gd name="connsiteX120" fmla="*/ 410914 w 608814"/>
              <a:gd name="connsiteY120" fmla="*/ 15738 h 585693"/>
              <a:gd name="connsiteX121" fmla="*/ 426676 w 608814"/>
              <a:gd name="connsiteY121" fmla="*/ 0 h 585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608814" h="585693">
                <a:moveTo>
                  <a:pt x="195114" y="351627"/>
                </a:moveTo>
                <a:lnTo>
                  <a:pt x="258290" y="351627"/>
                </a:lnTo>
                <a:cubicBezTo>
                  <a:pt x="271848" y="351627"/>
                  <a:pt x="282731" y="362580"/>
                  <a:pt x="282731" y="376018"/>
                </a:cubicBezTo>
                <a:lnTo>
                  <a:pt x="282731" y="561210"/>
                </a:lnTo>
                <a:cubicBezTo>
                  <a:pt x="282731" y="574740"/>
                  <a:pt x="271848" y="585693"/>
                  <a:pt x="258290" y="585693"/>
                </a:cubicBezTo>
                <a:lnTo>
                  <a:pt x="195114" y="585693"/>
                </a:lnTo>
                <a:cubicBezTo>
                  <a:pt x="181556" y="585693"/>
                  <a:pt x="170673" y="574740"/>
                  <a:pt x="170673" y="561210"/>
                </a:cubicBezTo>
                <a:lnTo>
                  <a:pt x="170673" y="376018"/>
                </a:lnTo>
                <a:cubicBezTo>
                  <a:pt x="170673" y="362580"/>
                  <a:pt x="181556" y="351627"/>
                  <a:pt x="195114" y="351627"/>
                </a:cubicBezTo>
                <a:close/>
                <a:moveTo>
                  <a:pt x="358100" y="249872"/>
                </a:moveTo>
                <a:lnTo>
                  <a:pt x="421316" y="249872"/>
                </a:lnTo>
                <a:cubicBezTo>
                  <a:pt x="434771" y="249872"/>
                  <a:pt x="445737" y="260735"/>
                  <a:pt x="445737" y="274267"/>
                </a:cubicBezTo>
                <a:lnTo>
                  <a:pt x="445737" y="561206"/>
                </a:lnTo>
                <a:cubicBezTo>
                  <a:pt x="445737" y="574738"/>
                  <a:pt x="434771" y="585693"/>
                  <a:pt x="421316" y="585693"/>
                </a:cubicBezTo>
                <a:lnTo>
                  <a:pt x="358100" y="585693"/>
                </a:lnTo>
                <a:cubicBezTo>
                  <a:pt x="344645" y="585693"/>
                  <a:pt x="333679" y="574738"/>
                  <a:pt x="333679" y="561206"/>
                </a:cubicBezTo>
                <a:lnTo>
                  <a:pt x="333679" y="274267"/>
                </a:lnTo>
                <a:cubicBezTo>
                  <a:pt x="333679" y="260735"/>
                  <a:pt x="344645" y="249872"/>
                  <a:pt x="358100" y="249872"/>
                </a:cubicBezTo>
                <a:close/>
                <a:moveTo>
                  <a:pt x="140260" y="224680"/>
                </a:moveTo>
                <a:cubicBezTo>
                  <a:pt x="168749" y="224680"/>
                  <a:pt x="191844" y="247711"/>
                  <a:pt x="191844" y="276122"/>
                </a:cubicBezTo>
                <a:cubicBezTo>
                  <a:pt x="191844" y="304533"/>
                  <a:pt x="168749" y="327564"/>
                  <a:pt x="140260" y="327564"/>
                </a:cubicBezTo>
                <a:cubicBezTo>
                  <a:pt x="111771" y="327564"/>
                  <a:pt x="88676" y="304533"/>
                  <a:pt x="88676" y="276122"/>
                </a:cubicBezTo>
                <a:cubicBezTo>
                  <a:pt x="88676" y="247711"/>
                  <a:pt x="111771" y="224680"/>
                  <a:pt x="140260" y="224680"/>
                </a:cubicBezTo>
                <a:close/>
                <a:moveTo>
                  <a:pt x="521177" y="148117"/>
                </a:moveTo>
                <a:lnTo>
                  <a:pt x="584301" y="148117"/>
                </a:lnTo>
                <a:cubicBezTo>
                  <a:pt x="597848" y="148117"/>
                  <a:pt x="608814" y="159070"/>
                  <a:pt x="608814" y="172601"/>
                </a:cubicBezTo>
                <a:lnTo>
                  <a:pt x="608814" y="561209"/>
                </a:lnTo>
                <a:cubicBezTo>
                  <a:pt x="608814" y="574740"/>
                  <a:pt x="597848" y="585693"/>
                  <a:pt x="584301" y="585693"/>
                </a:cubicBezTo>
                <a:lnTo>
                  <a:pt x="521177" y="585693"/>
                </a:lnTo>
                <a:cubicBezTo>
                  <a:pt x="507722" y="585693"/>
                  <a:pt x="496756" y="574740"/>
                  <a:pt x="496756" y="561209"/>
                </a:cubicBezTo>
                <a:lnTo>
                  <a:pt x="496756" y="172601"/>
                </a:lnTo>
                <a:cubicBezTo>
                  <a:pt x="496756" y="159070"/>
                  <a:pt x="507722" y="148117"/>
                  <a:pt x="521177" y="148117"/>
                </a:cubicBezTo>
                <a:close/>
                <a:moveTo>
                  <a:pt x="116229" y="131322"/>
                </a:moveTo>
                <a:lnTo>
                  <a:pt x="164246" y="131322"/>
                </a:lnTo>
                <a:cubicBezTo>
                  <a:pt x="175214" y="131322"/>
                  <a:pt x="184061" y="140159"/>
                  <a:pt x="184061" y="151113"/>
                </a:cubicBezTo>
                <a:lnTo>
                  <a:pt x="184061" y="171457"/>
                </a:lnTo>
                <a:cubicBezTo>
                  <a:pt x="193001" y="175231"/>
                  <a:pt x="201019" y="180386"/>
                  <a:pt x="208669" y="186094"/>
                </a:cubicBezTo>
                <a:lnTo>
                  <a:pt x="226641" y="175692"/>
                </a:lnTo>
                <a:cubicBezTo>
                  <a:pt x="236134" y="170261"/>
                  <a:pt x="248300" y="173482"/>
                  <a:pt x="253737" y="182964"/>
                </a:cubicBezTo>
                <a:lnTo>
                  <a:pt x="277792" y="224572"/>
                </a:lnTo>
                <a:cubicBezTo>
                  <a:pt x="280465" y="229083"/>
                  <a:pt x="281110" y="234514"/>
                  <a:pt x="279727" y="239577"/>
                </a:cubicBezTo>
                <a:cubicBezTo>
                  <a:pt x="278437" y="244640"/>
                  <a:pt x="275119" y="248966"/>
                  <a:pt x="270511" y="251544"/>
                </a:cubicBezTo>
                <a:lnTo>
                  <a:pt x="252355" y="262038"/>
                </a:lnTo>
                <a:cubicBezTo>
                  <a:pt x="253000" y="266733"/>
                  <a:pt x="253829" y="271335"/>
                  <a:pt x="253829" y="276122"/>
                </a:cubicBezTo>
                <a:cubicBezTo>
                  <a:pt x="253829" y="281001"/>
                  <a:pt x="253000" y="285604"/>
                  <a:pt x="252355" y="290206"/>
                </a:cubicBezTo>
                <a:lnTo>
                  <a:pt x="270511" y="300700"/>
                </a:lnTo>
                <a:cubicBezTo>
                  <a:pt x="279174" y="305671"/>
                  <a:pt x="282308" y="316165"/>
                  <a:pt x="278714" y="325094"/>
                </a:cubicBezTo>
                <a:cubicBezTo>
                  <a:pt x="272354" y="322609"/>
                  <a:pt x="265442" y="321136"/>
                  <a:pt x="258253" y="321136"/>
                </a:cubicBezTo>
                <a:lnTo>
                  <a:pt x="195858" y="321136"/>
                </a:lnTo>
                <a:cubicBezTo>
                  <a:pt x="205904" y="308709"/>
                  <a:pt x="212171" y="293244"/>
                  <a:pt x="212171" y="276122"/>
                </a:cubicBezTo>
                <a:cubicBezTo>
                  <a:pt x="212171" y="236539"/>
                  <a:pt x="179914" y="204320"/>
                  <a:pt x="140191" y="204320"/>
                </a:cubicBezTo>
                <a:cubicBezTo>
                  <a:pt x="100561" y="204320"/>
                  <a:pt x="68304" y="236539"/>
                  <a:pt x="68304" y="276122"/>
                </a:cubicBezTo>
                <a:cubicBezTo>
                  <a:pt x="68304" y="315797"/>
                  <a:pt x="100561" y="348016"/>
                  <a:pt x="140191" y="348016"/>
                </a:cubicBezTo>
                <a:cubicBezTo>
                  <a:pt x="143048" y="348016"/>
                  <a:pt x="145721" y="347463"/>
                  <a:pt x="148486" y="347095"/>
                </a:cubicBezTo>
                <a:cubicBezTo>
                  <a:pt x="143233" y="355564"/>
                  <a:pt x="140099" y="365414"/>
                  <a:pt x="140099" y="376000"/>
                </a:cubicBezTo>
                <a:lnTo>
                  <a:pt x="140099" y="420922"/>
                </a:lnTo>
                <a:lnTo>
                  <a:pt x="116229" y="420922"/>
                </a:lnTo>
                <a:cubicBezTo>
                  <a:pt x="105261" y="420922"/>
                  <a:pt x="96413" y="412085"/>
                  <a:pt x="96413" y="401131"/>
                </a:cubicBezTo>
                <a:lnTo>
                  <a:pt x="96413" y="380787"/>
                </a:lnTo>
                <a:cubicBezTo>
                  <a:pt x="87474" y="377013"/>
                  <a:pt x="79455" y="371950"/>
                  <a:pt x="71806" y="366150"/>
                </a:cubicBezTo>
                <a:lnTo>
                  <a:pt x="53742" y="376552"/>
                </a:lnTo>
                <a:cubicBezTo>
                  <a:pt x="49226" y="379222"/>
                  <a:pt x="43788" y="379866"/>
                  <a:pt x="38719" y="378577"/>
                </a:cubicBezTo>
                <a:cubicBezTo>
                  <a:pt x="33650" y="377197"/>
                  <a:pt x="29318" y="373883"/>
                  <a:pt x="26738" y="369372"/>
                </a:cubicBezTo>
                <a:lnTo>
                  <a:pt x="2683" y="327764"/>
                </a:lnTo>
                <a:cubicBezTo>
                  <a:pt x="-2847" y="318282"/>
                  <a:pt x="471" y="306131"/>
                  <a:pt x="9872" y="300700"/>
                </a:cubicBezTo>
                <a:lnTo>
                  <a:pt x="28120" y="290206"/>
                </a:lnTo>
                <a:cubicBezTo>
                  <a:pt x="27475" y="285604"/>
                  <a:pt x="26645" y="281001"/>
                  <a:pt x="26645" y="276122"/>
                </a:cubicBezTo>
                <a:cubicBezTo>
                  <a:pt x="26645" y="271335"/>
                  <a:pt x="27475" y="266733"/>
                  <a:pt x="28120" y="262038"/>
                </a:cubicBezTo>
                <a:lnTo>
                  <a:pt x="9872" y="251544"/>
                </a:lnTo>
                <a:cubicBezTo>
                  <a:pt x="471" y="246113"/>
                  <a:pt x="-2847" y="233962"/>
                  <a:pt x="2683" y="224572"/>
                </a:cubicBezTo>
                <a:lnTo>
                  <a:pt x="26738" y="182964"/>
                </a:lnTo>
                <a:cubicBezTo>
                  <a:pt x="29318" y="178361"/>
                  <a:pt x="33650" y="175139"/>
                  <a:pt x="38719" y="173759"/>
                </a:cubicBezTo>
                <a:cubicBezTo>
                  <a:pt x="43788" y="172378"/>
                  <a:pt x="49226" y="173114"/>
                  <a:pt x="53742" y="175692"/>
                </a:cubicBezTo>
                <a:lnTo>
                  <a:pt x="71806" y="186094"/>
                </a:lnTo>
                <a:cubicBezTo>
                  <a:pt x="79455" y="180386"/>
                  <a:pt x="87474" y="175231"/>
                  <a:pt x="96413" y="171457"/>
                </a:cubicBezTo>
                <a:lnTo>
                  <a:pt x="96413" y="151113"/>
                </a:lnTo>
                <a:cubicBezTo>
                  <a:pt x="96413" y="140159"/>
                  <a:pt x="105261" y="131322"/>
                  <a:pt x="116229" y="131322"/>
                </a:cubicBezTo>
                <a:close/>
                <a:moveTo>
                  <a:pt x="445756" y="83476"/>
                </a:moveTo>
                <a:cubicBezTo>
                  <a:pt x="428335" y="83476"/>
                  <a:pt x="414140" y="97557"/>
                  <a:pt x="414140" y="115044"/>
                </a:cubicBezTo>
                <a:cubicBezTo>
                  <a:pt x="414140" y="132438"/>
                  <a:pt x="428335" y="146520"/>
                  <a:pt x="445756" y="146520"/>
                </a:cubicBezTo>
                <a:cubicBezTo>
                  <a:pt x="463176" y="146520"/>
                  <a:pt x="477371" y="132438"/>
                  <a:pt x="477371" y="115044"/>
                </a:cubicBezTo>
                <a:cubicBezTo>
                  <a:pt x="477371" y="97557"/>
                  <a:pt x="463176" y="83476"/>
                  <a:pt x="445756" y="83476"/>
                </a:cubicBezTo>
                <a:close/>
                <a:moveTo>
                  <a:pt x="426676" y="0"/>
                </a:moveTo>
                <a:lnTo>
                  <a:pt x="464835" y="0"/>
                </a:lnTo>
                <a:cubicBezTo>
                  <a:pt x="473500" y="0"/>
                  <a:pt x="480597" y="7087"/>
                  <a:pt x="480597" y="15738"/>
                </a:cubicBezTo>
                <a:lnTo>
                  <a:pt x="480597" y="31936"/>
                </a:lnTo>
                <a:cubicBezTo>
                  <a:pt x="487694" y="34881"/>
                  <a:pt x="494054" y="38931"/>
                  <a:pt x="500138" y="43533"/>
                </a:cubicBezTo>
                <a:lnTo>
                  <a:pt x="514425" y="35249"/>
                </a:lnTo>
                <a:cubicBezTo>
                  <a:pt x="521983" y="30924"/>
                  <a:pt x="531569" y="33501"/>
                  <a:pt x="535901" y="40956"/>
                </a:cubicBezTo>
                <a:lnTo>
                  <a:pt x="554981" y="73996"/>
                </a:lnTo>
                <a:cubicBezTo>
                  <a:pt x="557101" y="77585"/>
                  <a:pt x="557654" y="81911"/>
                  <a:pt x="556640" y="85961"/>
                </a:cubicBezTo>
                <a:cubicBezTo>
                  <a:pt x="555534" y="89918"/>
                  <a:pt x="552861" y="93415"/>
                  <a:pt x="549266" y="95440"/>
                </a:cubicBezTo>
                <a:lnTo>
                  <a:pt x="534887" y="103815"/>
                </a:lnTo>
                <a:cubicBezTo>
                  <a:pt x="535348" y="107497"/>
                  <a:pt x="535993" y="111178"/>
                  <a:pt x="535993" y="115044"/>
                </a:cubicBezTo>
                <a:cubicBezTo>
                  <a:pt x="535993" y="115872"/>
                  <a:pt x="535809" y="116700"/>
                  <a:pt x="535717" y="117621"/>
                </a:cubicBezTo>
                <a:lnTo>
                  <a:pt x="521153" y="117621"/>
                </a:lnTo>
                <a:cubicBezTo>
                  <a:pt x="490828" y="117621"/>
                  <a:pt x="466126" y="142286"/>
                  <a:pt x="466126" y="172565"/>
                </a:cubicBezTo>
                <a:lnTo>
                  <a:pt x="466126" y="229719"/>
                </a:lnTo>
                <a:lnTo>
                  <a:pt x="466126" y="242604"/>
                </a:lnTo>
                <a:cubicBezTo>
                  <a:pt x="462715" y="237726"/>
                  <a:pt x="458383" y="233493"/>
                  <a:pt x="453590" y="229995"/>
                </a:cubicBezTo>
                <a:cubicBezTo>
                  <a:pt x="444465" y="223369"/>
                  <a:pt x="433404" y="219319"/>
                  <a:pt x="421330" y="219319"/>
                </a:cubicBezTo>
                <a:lnTo>
                  <a:pt x="411928" y="219319"/>
                </a:lnTo>
                <a:cubicBezTo>
                  <a:pt x="411375" y="217755"/>
                  <a:pt x="410914" y="216098"/>
                  <a:pt x="410914" y="214257"/>
                </a:cubicBezTo>
                <a:lnTo>
                  <a:pt x="410914" y="198059"/>
                </a:lnTo>
                <a:cubicBezTo>
                  <a:pt x="403817" y="195114"/>
                  <a:pt x="397457" y="191064"/>
                  <a:pt x="391373" y="186463"/>
                </a:cubicBezTo>
                <a:lnTo>
                  <a:pt x="377086" y="194746"/>
                </a:lnTo>
                <a:cubicBezTo>
                  <a:pt x="373492" y="196863"/>
                  <a:pt x="369160" y="197415"/>
                  <a:pt x="365104" y="196310"/>
                </a:cubicBezTo>
                <a:cubicBezTo>
                  <a:pt x="361140" y="195206"/>
                  <a:pt x="357638" y="192629"/>
                  <a:pt x="355610" y="189040"/>
                </a:cubicBezTo>
                <a:lnTo>
                  <a:pt x="336530" y="155999"/>
                </a:lnTo>
                <a:cubicBezTo>
                  <a:pt x="332198" y="148452"/>
                  <a:pt x="334687" y="138881"/>
                  <a:pt x="342245" y="134463"/>
                </a:cubicBezTo>
                <a:lnTo>
                  <a:pt x="356716" y="126180"/>
                </a:lnTo>
                <a:cubicBezTo>
                  <a:pt x="356163" y="122498"/>
                  <a:pt x="355518" y="118817"/>
                  <a:pt x="355518" y="115044"/>
                </a:cubicBezTo>
                <a:cubicBezTo>
                  <a:pt x="355518" y="111178"/>
                  <a:pt x="356163" y="107497"/>
                  <a:pt x="356716" y="103815"/>
                </a:cubicBezTo>
                <a:lnTo>
                  <a:pt x="342245" y="95440"/>
                </a:lnTo>
                <a:cubicBezTo>
                  <a:pt x="334687" y="91115"/>
                  <a:pt x="332198" y="81543"/>
                  <a:pt x="336530" y="73996"/>
                </a:cubicBezTo>
                <a:lnTo>
                  <a:pt x="355610" y="40956"/>
                </a:lnTo>
                <a:cubicBezTo>
                  <a:pt x="357638" y="37366"/>
                  <a:pt x="361140" y="34789"/>
                  <a:pt x="365104" y="33685"/>
                </a:cubicBezTo>
                <a:cubicBezTo>
                  <a:pt x="369160" y="32580"/>
                  <a:pt x="373492" y="33133"/>
                  <a:pt x="377086" y="35249"/>
                </a:cubicBezTo>
                <a:lnTo>
                  <a:pt x="391373" y="43533"/>
                </a:lnTo>
                <a:cubicBezTo>
                  <a:pt x="397457" y="38931"/>
                  <a:pt x="403817" y="34881"/>
                  <a:pt x="410914" y="31936"/>
                </a:cubicBezTo>
                <a:lnTo>
                  <a:pt x="410914" y="15738"/>
                </a:lnTo>
                <a:cubicBezTo>
                  <a:pt x="410914" y="7087"/>
                  <a:pt x="418011" y="0"/>
                  <a:pt x="42667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A3E94BF3-6B1A-43C4-976F-3BB0AB9D2C0E}"/>
              </a:ext>
            </a:extLst>
          </p:cNvPr>
          <p:cNvSpPr/>
          <p:nvPr/>
        </p:nvSpPr>
        <p:spPr bwMode="auto">
          <a:xfrm>
            <a:off x="4709455" y="2266506"/>
            <a:ext cx="513506" cy="493850"/>
          </a:xfrm>
          <a:custGeom>
            <a:avLst/>
            <a:gdLst>
              <a:gd name="connsiteX0" fmla="*/ 61288 w 609549"/>
              <a:gd name="connsiteY0" fmla="*/ 383285 h 586216"/>
              <a:gd name="connsiteX1" fmla="*/ 71162 w 609549"/>
              <a:gd name="connsiteY1" fmla="*/ 387101 h 586216"/>
              <a:gd name="connsiteX2" fmla="*/ 120018 w 609549"/>
              <a:gd name="connsiteY2" fmla="*/ 435892 h 586216"/>
              <a:gd name="connsiteX3" fmla="*/ 120018 w 609549"/>
              <a:gd name="connsiteY3" fmla="*/ 454200 h 586216"/>
              <a:gd name="connsiteX4" fmla="*/ 56639 w 609549"/>
              <a:gd name="connsiteY4" fmla="*/ 517543 h 586216"/>
              <a:gd name="connsiteX5" fmla="*/ 35592 w 609549"/>
              <a:gd name="connsiteY5" fmla="*/ 513644 h 586216"/>
              <a:gd name="connsiteX6" fmla="*/ 51877 w 609549"/>
              <a:gd name="connsiteY6" fmla="*/ 388099 h 586216"/>
              <a:gd name="connsiteX7" fmla="*/ 61288 w 609549"/>
              <a:gd name="connsiteY7" fmla="*/ 383285 h 586216"/>
              <a:gd name="connsiteX8" fmla="*/ 235245 w 609549"/>
              <a:gd name="connsiteY8" fmla="*/ 302810 h 586216"/>
              <a:gd name="connsiteX9" fmla="*/ 306042 w 609549"/>
              <a:gd name="connsiteY9" fmla="*/ 373466 h 586216"/>
              <a:gd name="connsiteX10" fmla="*/ 258717 w 609549"/>
              <a:gd name="connsiteY10" fmla="*/ 420680 h 586216"/>
              <a:gd name="connsiteX11" fmla="*/ 230246 w 609549"/>
              <a:gd name="connsiteY11" fmla="*/ 550152 h 586216"/>
              <a:gd name="connsiteX12" fmla="*/ 92223 w 609549"/>
              <a:gd name="connsiteY12" fmla="*/ 575305 h 586216"/>
              <a:gd name="connsiteX13" fmla="*/ 88748 w 609549"/>
              <a:gd name="connsiteY13" fmla="*/ 556143 h 586216"/>
              <a:gd name="connsiteX14" fmla="*/ 165115 w 609549"/>
              <a:gd name="connsiteY14" fmla="*/ 479877 h 586216"/>
              <a:gd name="connsiteX15" fmla="*/ 165115 w 609549"/>
              <a:gd name="connsiteY15" fmla="*/ 446308 h 586216"/>
              <a:gd name="connsiteX16" fmla="*/ 88700 w 609549"/>
              <a:gd name="connsiteY16" fmla="*/ 369995 h 586216"/>
              <a:gd name="connsiteX17" fmla="*/ 92128 w 609549"/>
              <a:gd name="connsiteY17" fmla="*/ 350976 h 586216"/>
              <a:gd name="connsiteX18" fmla="*/ 189111 w 609549"/>
              <a:gd name="connsiteY18" fmla="*/ 348884 h 586216"/>
              <a:gd name="connsiteX19" fmla="*/ 257958 w 609549"/>
              <a:gd name="connsiteY19" fmla="*/ 161679 h 586216"/>
              <a:gd name="connsiteX20" fmla="*/ 317251 w 609549"/>
              <a:gd name="connsiteY20" fmla="*/ 220879 h 586216"/>
              <a:gd name="connsiteX21" fmla="*/ 388070 w 609549"/>
              <a:gd name="connsiteY21" fmla="*/ 291586 h 586216"/>
              <a:gd name="connsiteX22" fmla="*/ 604906 w 609549"/>
              <a:gd name="connsiteY22" fmla="*/ 508130 h 586216"/>
              <a:gd name="connsiteX23" fmla="*/ 604906 w 609549"/>
              <a:gd name="connsiteY23" fmla="*/ 530526 h 586216"/>
              <a:gd name="connsiteX24" fmla="*/ 556567 w 609549"/>
              <a:gd name="connsiteY24" fmla="*/ 578789 h 586216"/>
              <a:gd name="connsiteX25" fmla="*/ 545327 w 609549"/>
              <a:gd name="connsiteY25" fmla="*/ 583449 h 586216"/>
              <a:gd name="connsiteX26" fmla="*/ 534135 w 609549"/>
              <a:gd name="connsiteY26" fmla="*/ 578789 h 586216"/>
              <a:gd name="connsiteX27" fmla="*/ 317251 w 609549"/>
              <a:gd name="connsiteY27" fmla="*/ 362293 h 586216"/>
              <a:gd name="connsiteX28" fmla="*/ 246481 w 609549"/>
              <a:gd name="connsiteY28" fmla="*/ 291586 h 586216"/>
              <a:gd name="connsiteX29" fmla="*/ 187140 w 609549"/>
              <a:gd name="connsiteY29" fmla="*/ 232339 h 586216"/>
              <a:gd name="connsiteX30" fmla="*/ 58606 w 609549"/>
              <a:gd name="connsiteY30" fmla="*/ 160814 h 586216"/>
              <a:gd name="connsiteX31" fmla="*/ 126401 w 609549"/>
              <a:gd name="connsiteY31" fmla="*/ 228498 h 586216"/>
              <a:gd name="connsiteX32" fmla="*/ 111975 w 609549"/>
              <a:gd name="connsiteY32" fmla="*/ 242899 h 586216"/>
              <a:gd name="connsiteX33" fmla="*/ 119307 w 609549"/>
              <a:gd name="connsiteY33" fmla="*/ 250219 h 586216"/>
              <a:gd name="connsiteX34" fmla="*/ 119307 w 609549"/>
              <a:gd name="connsiteY34" fmla="*/ 277692 h 586216"/>
              <a:gd name="connsiteX35" fmla="*/ 115641 w 609549"/>
              <a:gd name="connsiteY35" fmla="*/ 281352 h 586216"/>
              <a:gd name="connsiteX36" fmla="*/ 88123 w 609549"/>
              <a:gd name="connsiteY36" fmla="*/ 281352 h 586216"/>
              <a:gd name="connsiteX37" fmla="*/ 5712 w 609549"/>
              <a:gd name="connsiteY37" fmla="*/ 199029 h 586216"/>
              <a:gd name="connsiteX38" fmla="*/ 5712 w 609549"/>
              <a:gd name="connsiteY38" fmla="*/ 171604 h 586216"/>
              <a:gd name="connsiteX39" fmla="*/ 9378 w 609549"/>
              <a:gd name="connsiteY39" fmla="*/ 167944 h 586216"/>
              <a:gd name="connsiteX40" fmla="*/ 36849 w 609549"/>
              <a:gd name="connsiteY40" fmla="*/ 167944 h 586216"/>
              <a:gd name="connsiteX41" fmla="*/ 44180 w 609549"/>
              <a:gd name="connsiteY41" fmla="*/ 175264 h 586216"/>
              <a:gd name="connsiteX42" fmla="*/ 585775 w 609549"/>
              <a:gd name="connsiteY42" fmla="*/ 66370 h 586216"/>
              <a:gd name="connsiteX43" fmla="*/ 595263 w 609549"/>
              <a:gd name="connsiteY43" fmla="*/ 73839 h 586216"/>
              <a:gd name="connsiteX44" fmla="*/ 578978 w 609549"/>
              <a:gd name="connsiteY44" fmla="*/ 199341 h 586216"/>
              <a:gd name="connsiteX45" fmla="*/ 559693 w 609549"/>
              <a:gd name="connsiteY45" fmla="*/ 200387 h 586216"/>
              <a:gd name="connsiteX46" fmla="*/ 510789 w 609549"/>
              <a:gd name="connsiteY46" fmla="*/ 151612 h 586216"/>
              <a:gd name="connsiteX47" fmla="*/ 510789 w 609549"/>
              <a:gd name="connsiteY47" fmla="*/ 133262 h 586216"/>
              <a:gd name="connsiteX48" fmla="*/ 574216 w 609549"/>
              <a:gd name="connsiteY48" fmla="*/ 69988 h 586216"/>
              <a:gd name="connsiteX49" fmla="*/ 585775 w 609549"/>
              <a:gd name="connsiteY49" fmla="*/ 66370 h 586216"/>
              <a:gd name="connsiteX50" fmla="*/ 158702 w 609549"/>
              <a:gd name="connsiteY50" fmla="*/ 26758 h 586216"/>
              <a:gd name="connsiteX51" fmla="*/ 172463 w 609549"/>
              <a:gd name="connsiteY51" fmla="*/ 32464 h 586216"/>
              <a:gd name="connsiteX52" fmla="*/ 179701 w 609549"/>
              <a:gd name="connsiteY52" fmla="*/ 39691 h 586216"/>
              <a:gd name="connsiteX53" fmla="*/ 246935 w 609549"/>
              <a:gd name="connsiteY53" fmla="*/ 106831 h 586216"/>
              <a:gd name="connsiteX54" fmla="*/ 254886 w 609549"/>
              <a:gd name="connsiteY54" fmla="*/ 114819 h 586216"/>
              <a:gd name="connsiteX55" fmla="*/ 257600 w 609549"/>
              <a:gd name="connsiteY55" fmla="*/ 138879 h 586216"/>
              <a:gd name="connsiteX56" fmla="*/ 254886 w 609549"/>
              <a:gd name="connsiteY56" fmla="*/ 142255 h 586216"/>
              <a:gd name="connsiteX57" fmla="*/ 252315 w 609549"/>
              <a:gd name="connsiteY57" fmla="*/ 144823 h 586216"/>
              <a:gd name="connsiteX58" fmla="*/ 246696 w 609549"/>
              <a:gd name="connsiteY58" fmla="*/ 150434 h 586216"/>
              <a:gd name="connsiteX59" fmla="*/ 175892 w 609549"/>
              <a:gd name="connsiteY59" fmla="*/ 221140 h 586216"/>
              <a:gd name="connsiteX60" fmla="*/ 172463 w 609549"/>
              <a:gd name="connsiteY60" fmla="*/ 224611 h 586216"/>
              <a:gd name="connsiteX61" fmla="*/ 170130 w 609549"/>
              <a:gd name="connsiteY61" fmla="*/ 226560 h 586216"/>
              <a:gd name="connsiteX62" fmla="*/ 162274 w 609549"/>
              <a:gd name="connsiteY62" fmla="*/ 229936 h 586216"/>
              <a:gd name="connsiteX63" fmla="*/ 158702 w 609549"/>
              <a:gd name="connsiteY63" fmla="*/ 230269 h 586216"/>
              <a:gd name="connsiteX64" fmla="*/ 144942 w 609549"/>
              <a:gd name="connsiteY64" fmla="*/ 224611 h 586216"/>
              <a:gd name="connsiteX65" fmla="*/ 137609 w 609549"/>
              <a:gd name="connsiteY65" fmla="*/ 217288 h 586216"/>
              <a:gd name="connsiteX66" fmla="*/ 69804 w 609549"/>
              <a:gd name="connsiteY66" fmla="*/ 149578 h 586216"/>
              <a:gd name="connsiteX67" fmla="*/ 62519 w 609549"/>
              <a:gd name="connsiteY67" fmla="*/ 142255 h 586216"/>
              <a:gd name="connsiteX68" fmla="*/ 62519 w 609549"/>
              <a:gd name="connsiteY68" fmla="*/ 114819 h 586216"/>
              <a:gd name="connsiteX69" fmla="*/ 144942 w 609549"/>
              <a:gd name="connsiteY69" fmla="*/ 32464 h 586216"/>
              <a:gd name="connsiteX70" fmla="*/ 158702 w 609549"/>
              <a:gd name="connsiteY70" fmla="*/ 26758 h 586216"/>
              <a:gd name="connsiteX71" fmla="*/ 254809 w 609549"/>
              <a:gd name="connsiteY71" fmla="*/ 6542 h 586216"/>
              <a:gd name="connsiteX72" fmla="*/ 321015 w 609549"/>
              <a:gd name="connsiteY72" fmla="*/ 29913 h 586216"/>
              <a:gd name="connsiteX73" fmla="*/ 260017 w 609549"/>
              <a:gd name="connsiteY73" fmla="*/ 97465 h 586216"/>
              <a:gd name="connsiteX74" fmla="*/ 193067 w 609549"/>
              <a:gd name="connsiteY74" fmla="*/ 30626 h 586216"/>
              <a:gd name="connsiteX75" fmla="*/ 254809 w 609549"/>
              <a:gd name="connsiteY75" fmla="*/ 6542 h 586216"/>
              <a:gd name="connsiteX76" fmla="*/ 503105 w 609549"/>
              <a:gd name="connsiteY76" fmla="*/ 953 h 586216"/>
              <a:gd name="connsiteX77" fmla="*/ 538560 w 609549"/>
              <a:gd name="connsiteY77" fmla="*/ 10911 h 586216"/>
              <a:gd name="connsiteX78" fmla="*/ 542083 w 609549"/>
              <a:gd name="connsiteY78" fmla="*/ 30073 h 586216"/>
              <a:gd name="connsiteX79" fmla="*/ 465709 w 609549"/>
              <a:gd name="connsiteY79" fmla="*/ 106341 h 586216"/>
              <a:gd name="connsiteX80" fmla="*/ 465709 w 609549"/>
              <a:gd name="connsiteY80" fmla="*/ 139911 h 586216"/>
              <a:gd name="connsiteX81" fmla="*/ 542131 w 609549"/>
              <a:gd name="connsiteY81" fmla="*/ 216227 h 586216"/>
              <a:gd name="connsiteX82" fmla="*/ 538655 w 609549"/>
              <a:gd name="connsiteY82" fmla="*/ 235246 h 586216"/>
              <a:gd name="connsiteX83" fmla="*/ 442187 w 609549"/>
              <a:gd name="connsiteY83" fmla="*/ 237528 h 586216"/>
              <a:gd name="connsiteX84" fmla="*/ 399238 w 609549"/>
              <a:gd name="connsiteY84" fmla="*/ 280370 h 586216"/>
              <a:gd name="connsiteX85" fmla="*/ 328482 w 609549"/>
              <a:gd name="connsiteY85" fmla="*/ 209712 h 586216"/>
              <a:gd name="connsiteX86" fmla="*/ 372240 w 609549"/>
              <a:gd name="connsiteY86" fmla="*/ 166015 h 586216"/>
              <a:gd name="connsiteX87" fmla="*/ 400571 w 609549"/>
              <a:gd name="connsiteY87" fmla="*/ 36064 h 586216"/>
              <a:gd name="connsiteX88" fmla="*/ 503105 w 609549"/>
              <a:gd name="connsiteY88" fmla="*/ 953 h 5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609549" h="586216">
                <a:moveTo>
                  <a:pt x="61288" y="383285"/>
                </a:moveTo>
                <a:cubicBezTo>
                  <a:pt x="64829" y="383106"/>
                  <a:pt x="68448" y="384367"/>
                  <a:pt x="71162" y="387101"/>
                </a:cubicBezTo>
                <a:lnTo>
                  <a:pt x="120018" y="435892"/>
                </a:lnTo>
                <a:cubicBezTo>
                  <a:pt x="125113" y="440933"/>
                  <a:pt x="125113" y="449160"/>
                  <a:pt x="120018" y="454200"/>
                </a:cubicBezTo>
                <a:lnTo>
                  <a:pt x="56639" y="517543"/>
                </a:lnTo>
                <a:cubicBezTo>
                  <a:pt x="50211" y="523963"/>
                  <a:pt x="39211" y="522013"/>
                  <a:pt x="35592" y="513644"/>
                </a:cubicBezTo>
                <a:cubicBezTo>
                  <a:pt x="17783" y="472794"/>
                  <a:pt x="23211" y="424288"/>
                  <a:pt x="51877" y="388099"/>
                </a:cubicBezTo>
                <a:cubicBezTo>
                  <a:pt x="54282" y="385079"/>
                  <a:pt x="57746" y="383463"/>
                  <a:pt x="61288" y="383285"/>
                </a:cubicBezTo>
                <a:close/>
                <a:moveTo>
                  <a:pt x="235245" y="302810"/>
                </a:moveTo>
                <a:lnTo>
                  <a:pt x="306042" y="373466"/>
                </a:lnTo>
                <a:lnTo>
                  <a:pt x="258717" y="420680"/>
                </a:lnTo>
                <a:cubicBezTo>
                  <a:pt x="274667" y="464329"/>
                  <a:pt x="265192" y="515300"/>
                  <a:pt x="230246" y="550152"/>
                </a:cubicBezTo>
                <a:cubicBezTo>
                  <a:pt x="192919" y="587430"/>
                  <a:pt x="137644" y="595798"/>
                  <a:pt x="92223" y="575305"/>
                </a:cubicBezTo>
                <a:cubicBezTo>
                  <a:pt x="84701" y="571882"/>
                  <a:pt x="82892" y="561992"/>
                  <a:pt x="88748" y="556143"/>
                </a:cubicBezTo>
                <a:lnTo>
                  <a:pt x="165115" y="479877"/>
                </a:lnTo>
                <a:cubicBezTo>
                  <a:pt x="174399" y="470605"/>
                  <a:pt x="174399" y="455580"/>
                  <a:pt x="165115" y="446308"/>
                </a:cubicBezTo>
                <a:lnTo>
                  <a:pt x="88700" y="369995"/>
                </a:lnTo>
                <a:cubicBezTo>
                  <a:pt x="82844" y="364194"/>
                  <a:pt x="84653" y="354399"/>
                  <a:pt x="92128" y="350976"/>
                </a:cubicBezTo>
                <a:cubicBezTo>
                  <a:pt x="122789" y="337092"/>
                  <a:pt x="157973" y="336379"/>
                  <a:pt x="189111" y="348884"/>
                </a:cubicBezTo>
                <a:close/>
                <a:moveTo>
                  <a:pt x="257958" y="161679"/>
                </a:moveTo>
                <a:lnTo>
                  <a:pt x="317251" y="220879"/>
                </a:lnTo>
                <a:lnTo>
                  <a:pt x="388070" y="291586"/>
                </a:lnTo>
                <a:lnTo>
                  <a:pt x="604906" y="508130"/>
                </a:lnTo>
                <a:cubicBezTo>
                  <a:pt x="611097" y="514311"/>
                  <a:pt x="611097" y="524344"/>
                  <a:pt x="604906" y="530526"/>
                </a:cubicBezTo>
                <a:lnTo>
                  <a:pt x="556567" y="578789"/>
                </a:lnTo>
                <a:cubicBezTo>
                  <a:pt x="553471" y="581880"/>
                  <a:pt x="549423" y="583449"/>
                  <a:pt x="545327" y="583449"/>
                </a:cubicBezTo>
                <a:cubicBezTo>
                  <a:pt x="541279" y="583449"/>
                  <a:pt x="537231" y="581880"/>
                  <a:pt x="534135" y="578789"/>
                </a:cubicBezTo>
                <a:lnTo>
                  <a:pt x="317251" y="362293"/>
                </a:lnTo>
                <a:lnTo>
                  <a:pt x="246481" y="291586"/>
                </a:lnTo>
                <a:lnTo>
                  <a:pt x="187140" y="232339"/>
                </a:lnTo>
                <a:close/>
                <a:moveTo>
                  <a:pt x="58606" y="160814"/>
                </a:moveTo>
                <a:lnTo>
                  <a:pt x="126401" y="228498"/>
                </a:lnTo>
                <a:lnTo>
                  <a:pt x="111975" y="242899"/>
                </a:lnTo>
                <a:lnTo>
                  <a:pt x="119307" y="250219"/>
                </a:lnTo>
                <a:cubicBezTo>
                  <a:pt x="126877" y="257824"/>
                  <a:pt x="126877" y="270087"/>
                  <a:pt x="119307" y="277692"/>
                </a:cubicBezTo>
                <a:lnTo>
                  <a:pt x="115641" y="281352"/>
                </a:lnTo>
                <a:cubicBezTo>
                  <a:pt x="108024" y="288909"/>
                  <a:pt x="95741" y="288909"/>
                  <a:pt x="88123" y="281352"/>
                </a:cubicBezTo>
                <a:lnTo>
                  <a:pt x="5712" y="199029"/>
                </a:lnTo>
                <a:cubicBezTo>
                  <a:pt x="-1905" y="191424"/>
                  <a:pt x="-1905" y="179161"/>
                  <a:pt x="5712" y="171604"/>
                </a:cubicBezTo>
                <a:lnTo>
                  <a:pt x="9378" y="167944"/>
                </a:lnTo>
                <a:cubicBezTo>
                  <a:pt x="16948" y="160339"/>
                  <a:pt x="29231" y="160339"/>
                  <a:pt x="36849" y="167944"/>
                </a:cubicBezTo>
                <a:lnTo>
                  <a:pt x="44180" y="175264"/>
                </a:lnTo>
                <a:close/>
                <a:moveTo>
                  <a:pt x="585775" y="66370"/>
                </a:moveTo>
                <a:cubicBezTo>
                  <a:pt x="589775" y="67101"/>
                  <a:pt x="593430" y="69680"/>
                  <a:pt x="595263" y="73839"/>
                </a:cubicBezTo>
                <a:cubicBezTo>
                  <a:pt x="613072" y="114675"/>
                  <a:pt x="607644" y="163212"/>
                  <a:pt x="578978" y="199341"/>
                </a:cubicBezTo>
                <a:cubicBezTo>
                  <a:pt x="574168" y="205379"/>
                  <a:pt x="565121" y="205854"/>
                  <a:pt x="559693" y="200387"/>
                </a:cubicBezTo>
                <a:lnTo>
                  <a:pt x="510789" y="151612"/>
                </a:lnTo>
                <a:cubicBezTo>
                  <a:pt x="505742" y="146526"/>
                  <a:pt x="505742" y="138349"/>
                  <a:pt x="510789" y="133262"/>
                </a:cubicBezTo>
                <a:lnTo>
                  <a:pt x="574216" y="69988"/>
                </a:lnTo>
                <a:cubicBezTo>
                  <a:pt x="577430" y="66756"/>
                  <a:pt x="581775" y="65639"/>
                  <a:pt x="585775" y="66370"/>
                </a:cubicBezTo>
                <a:close/>
                <a:moveTo>
                  <a:pt x="158702" y="26758"/>
                </a:moveTo>
                <a:cubicBezTo>
                  <a:pt x="163655" y="26758"/>
                  <a:pt x="168654" y="28660"/>
                  <a:pt x="172463" y="32464"/>
                </a:cubicBezTo>
                <a:lnTo>
                  <a:pt x="179701" y="39691"/>
                </a:lnTo>
                <a:lnTo>
                  <a:pt x="246935" y="106831"/>
                </a:lnTo>
                <a:lnTo>
                  <a:pt x="254886" y="114819"/>
                </a:lnTo>
                <a:cubicBezTo>
                  <a:pt x="261457" y="121334"/>
                  <a:pt x="262362" y="131414"/>
                  <a:pt x="257600" y="138879"/>
                </a:cubicBezTo>
                <a:cubicBezTo>
                  <a:pt x="256839" y="140068"/>
                  <a:pt x="255934" y="141209"/>
                  <a:pt x="254886" y="142255"/>
                </a:cubicBezTo>
                <a:lnTo>
                  <a:pt x="252315" y="144823"/>
                </a:lnTo>
                <a:lnTo>
                  <a:pt x="246696" y="150434"/>
                </a:lnTo>
                <a:lnTo>
                  <a:pt x="175892" y="221140"/>
                </a:lnTo>
                <a:lnTo>
                  <a:pt x="172463" y="224611"/>
                </a:lnTo>
                <a:cubicBezTo>
                  <a:pt x="171702" y="225324"/>
                  <a:pt x="170940" y="225990"/>
                  <a:pt x="170130" y="226560"/>
                </a:cubicBezTo>
                <a:cubicBezTo>
                  <a:pt x="167749" y="228319"/>
                  <a:pt x="165083" y="229413"/>
                  <a:pt x="162274" y="229936"/>
                </a:cubicBezTo>
                <a:cubicBezTo>
                  <a:pt x="161083" y="230174"/>
                  <a:pt x="159893" y="230269"/>
                  <a:pt x="158702" y="230269"/>
                </a:cubicBezTo>
                <a:cubicBezTo>
                  <a:pt x="153703" y="230269"/>
                  <a:pt x="148751" y="228367"/>
                  <a:pt x="144942" y="224611"/>
                </a:cubicBezTo>
                <a:lnTo>
                  <a:pt x="137609" y="217288"/>
                </a:lnTo>
                <a:lnTo>
                  <a:pt x="69804" y="149578"/>
                </a:lnTo>
                <a:lnTo>
                  <a:pt x="62519" y="142255"/>
                </a:lnTo>
                <a:cubicBezTo>
                  <a:pt x="54900" y="134647"/>
                  <a:pt x="54900" y="122380"/>
                  <a:pt x="62519" y="114819"/>
                </a:cubicBezTo>
                <a:lnTo>
                  <a:pt x="144942" y="32464"/>
                </a:lnTo>
                <a:cubicBezTo>
                  <a:pt x="148751" y="28660"/>
                  <a:pt x="153750" y="26758"/>
                  <a:pt x="158702" y="26758"/>
                </a:cubicBezTo>
                <a:close/>
                <a:moveTo>
                  <a:pt x="254809" y="6542"/>
                </a:moveTo>
                <a:cubicBezTo>
                  <a:pt x="277279" y="4029"/>
                  <a:pt x="300492" y="9424"/>
                  <a:pt x="321015" y="29913"/>
                </a:cubicBezTo>
                <a:cubicBezTo>
                  <a:pt x="380347" y="89193"/>
                  <a:pt x="337205" y="46124"/>
                  <a:pt x="260017" y="97465"/>
                </a:cubicBezTo>
                <a:lnTo>
                  <a:pt x="193067" y="30626"/>
                </a:lnTo>
                <a:cubicBezTo>
                  <a:pt x="210614" y="19479"/>
                  <a:pt x="232340" y="9056"/>
                  <a:pt x="254809" y="6542"/>
                </a:cubicBezTo>
                <a:close/>
                <a:moveTo>
                  <a:pt x="503105" y="953"/>
                </a:moveTo>
                <a:cubicBezTo>
                  <a:pt x="515252" y="2468"/>
                  <a:pt x="527216" y="5788"/>
                  <a:pt x="538560" y="10911"/>
                </a:cubicBezTo>
                <a:cubicBezTo>
                  <a:pt x="546131" y="14334"/>
                  <a:pt x="547940" y="24224"/>
                  <a:pt x="542083" y="30073"/>
                </a:cubicBezTo>
                <a:lnTo>
                  <a:pt x="465709" y="106341"/>
                </a:lnTo>
                <a:cubicBezTo>
                  <a:pt x="456424" y="115613"/>
                  <a:pt x="456424" y="130639"/>
                  <a:pt x="465709" y="139911"/>
                </a:cubicBezTo>
                <a:lnTo>
                  <a:pt x="542131" y="216227"/>
                </a:lnTo>
                <a:cubicBezTo>
                  <a:pt x="547940" y="222028"/>
                  <a:pt x="546178" y="231823"/>
                  <a:pt x="538655" y="235246"/>
                </a:cubicBezTo>
                <a:cubicBezTo>
                  <a:pt x="508181" y="249035"/>
                  <a:pt x="473184" y="249844"/>
                  <a:pt x="442187" y="237528"/>
                </a:cubicBezTo>
                <a:lnTo>
                  <a:pt x="399238" y="280370"/>
                </a:lnTo>
                <a:lnTo>
                  <a:pt x="328482" y="209712"/>
                </a:lnTo>
                <a:lnTo>
                  <a:pt x="372240" y="166015"/>
                </a:lnTo>
                <a:cubicBezTo>
                  <a:pt x="356051" y="122270"/>
                  <a:pt x="365527" y="71060"/>
                  <a:pt x="400571" y="36064"/>
                </a:cubicBezTo>
                <a:cubicBezTo>
                  <a:pt x="428569" y="8106"/>
                  <a:pt x="466664" y="-3592"/>
                  <a:pt x="503105" y="95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1060A81C-F572-4557-9B33-5F36470A13A9}"/>
              </a:ext>
            </a:extLst>
          </p:cNvPr>
          <p:cNvSpPr/>
          <p:nvPr/>
        </p:nvSpPr>
        <p:spPr bwMode="auto">
          <a:xfrm>
            <a:off x="5812411" y="3391023"/>
            <a:ext cx="575096" cy="465488"/>
          </a:xfrm>
          <a:custGeom>
            <a:avLst/>
            <a:gdLst>
              <a:gd name="connsiteX0" fmla="*/ 355420 w 607568"/>
              <a:gd name="connsiteY0" fmla="*/ 250307 h 491771"/>
              <a:gd name="connsiteX1" fmla="*/ 352312 w 607568"/>
              <a:gd name="connsiteY1" fmla="*/ 251812 h 491771"/>
              <a:gd name="connsiteX2" fmla="*/ 321042 w 607568"/>
              <a:gd name="connsiteY2" fmla="*/ 289814 h 491771"/>
              <a:gd name="connsiteX3" fmla="*/ 321513 w 607568"/>
              <a:gd name="connsiteY3" fmla="*/ 295364 h 491771"/>
              <a:gd name="connsiteX4" fmla="*/ 369736 w 607568"/>
              <a:gd name="connsiteY4" fmla="*/ 338257 h 491771"/>
              <a:gd name="connsiteX5" fmla="*/ 371997 w 607568"/>
              <a:gd name="connsiteY5" fmla="*/ 339104 h 491771"/>
              <a:gd name="connsiteX6" fmla="*/ 373127 w 607568"/>
              <a:gd name="connsiteY6" fmla="*/ 338916 h 491771"/>
              <a:gd name="connsiteX7" fmla="*/ 375293 w 607568"/>
              <a:gd name="connsiteY7" fmla="*/ 336282 h 491771"/>
              <a:gd name="connsiteX8" fmla="*/ 383676 w 607568"/>
              <a:gd name="connsiteY8" fmla="*/ 279467 h 491771"/>
              <a:gd name="connsiteX9" fmla="*/ 376424 w 607568"/>
              <a:gd name="connsiteY9" fmla="*/ 263287 h 491771"/>
              <a:gd name="connsiteX10" fmla="*/ 357681 w 607568"/>
              <a:gd name="connsiteY10" fmla="*/ 250965 h 491771"/>
              <a:gd name="connsiteX11" fmla="*/ 355420 w 607568"/>
              <a:gd name="connsiteY11" fmla="*/ 250307 h 491771"/>
              <a:gd name="connsiteX12" fmla="*/ 258879 w 607568"/>
              <a:gd name="connsiteY12" fmla="*/ 250307 h 491771"/>
              <a:gd name="connsiteX13" fmla="*/ 256712 w 607568"/>
              <a:gd name="connsiteY13" fmla="*/ 250965 h 491771"/>
              <a:gd name="connsiteX14" fmla="*/ 237969 w 607568"/>
              <a:gd name="connsiteY14" fmla="*/ 263287 h 491771"/>
              <a:gd name="connsiteX15" fmla="*/ 230717 w 607568"/>
              <a:gd name="connsiteY15" fmla="*/ 279467 h 491771"/>
              <a:gd name="connsiteX16" fmla="*/ 239100 w 607568"/>
              <a:gd name="connsiteY16" fmla="*/ 336282 h 491771"/>
              <a:gd name="connsiteX17" fmla="*/ 241266 w 607568"/>
              <a:gd name="connsiteY17" fmla="*/ 338916 h 491771"/>
              <a:gd name="connsiteX18" fmla="*/ 242396 w 607568"/>
              <a:gd name="connsiteY18" fmla="*/ 339104 h 491771"/>
              <a:gd name="connsiteX19" fmla="*/ 244657 w 607568"/>
              <a:gd name="connsiteY19" fmla="*/ 338257 h 491771"/>
              <a:gd name="connsiteX20" fmla="*/ 292880 w 607568"/>
              <a:gd name="connsiteY20" fmla="*/ 295364 h 491771"/>
              <a:gd name="connsiteX21" fmla="*/ 293351 w 607568"/>
              <a:gd name="connsiteY21" fmla="*/ 289814 h 491771"/>
              <a:gd name="connsiteX22" fmla="*/ 261987 w 607568"/>
              <a:gd name="connsiteY22" fmla="*/ 251812 h 491771"/>
              <a:gd name="connsiteX23" fmla="*/ 258879 w 607568"/>
              <a:gd name="connsiteY23" fmla="*/ 250307 h 491771"/>
              <a:gd name="connsiteX24" fmla="*/ 500465 w 607568"/>
              <a:gd name="connsiteY24" fmla="*/ 66049 h 491771"/>
              <a:gd name="connsiteX25" fmla="*/ 565743 w 607568"/>
              <a:gd name="connsiteY25" fmla="*/ 130673 h 491771"/>
              <a:gd name="connsiteX26" fmla="*/ 566120 w 607568"/>
              <a:gd name="connsiteY26" fmla="*/ 130673 h 491771"/>
              <a:gd name="connsiteX27" fmla="*/ 580250 w 607568"/>
              <a:gd name="connsiteY27" fmla="*/ 160962 h 491771"/>
              <a:gd name="connsiteX28" fmla="*/ 560939 w 607568"/>
              <a:gd name="connsiteY28" fmla="*/ 182503 h 491771"/>
              <a:gd name="connsiteX29" fmla="*/ 531927 w 607568"/>
              <a:gd name="connsiteY29" fmla="*/ 223799 h 491771"/>
              <a:gd name="connsiteX30" fmla="*/ 528253 w 607568"/>
              <a:gd name="connsiteY30" fmla="*/ 234240 h 491771"/>
              <a:gd name="connsiteX31" fmla="*/ 530797 w 607568"/>
              <a:gd name="connsiteY31" fmla="*/ 246281 h 491771"/>
              <a:gd name="connsiteX32" fmla="*/ 545868 w 607568"/>
              <a:gd name="connsiteY32" fmla="*/ 261143 h 491771"/>
              <a:gd name="connsiteX33" fmla="*/ 558961 w 607568"/>
              <a:gd name="connsiteY33" fmla="*/ 263777 h 491771"/>
              <a:gd name="connsiteX34" fmla="*/ 597299 w 607568"/>
              <a:gd name="connsiteY34" fmla="*/ 301968 h 491771"/>
              <a:gd name="connsiteX35" fmla="*/ 607002 w 607568"/>
              <a:gd name="connsiteY35" fmla="*/ 350788 h 491771"/>
              <a:gd name="connsiteX36" fmla="*/ 601256 w 607568"/>
              <a:gd name="connsiteY36" fmla="*/ 373835 h 491771"/>
              <a:gd name="connsiteX37" fmla="*/ 579685 w 607568"/>
              <a:gd name="connsiteY37" fmla="*/ 384088 h 491771"/>
              <a:gd name="connsiteX38" fmla="*/ 490386 w 607568"/>
              <a:gd name="connsiteY38" fmla="*/ 384088 h 491771"/>
              <a:gd name="connsiteX39" fmla="*/ 467685 w 607568"/>
              <a:gd name="connsiteY39" fmla="*/ 310058 h 491771"/>
              <a:gd name="connsiteX40" fmla="*/ 431702 w 607568"/>
              <a:gd name="connsiteY40" fmla="*/ 267445 h 491771"/>
              <a:gd name="connsiteX41" fmla="*/ 441969 w 607568"/>
              <a:gd name="connsiteY41" fmla="*/ 263777 h 491771"/>
              <a:gd name="connsiteX42" fmla="*/ 455157 w 607568"/>
              <a:gd name="connsiteY42" fmla="*/ 261237 h 491771"/>
              <a:gd name="connsiteX43" fmla="*/ 470228 w 607568"/>
              <a:gd name="connsiteY43" fmla="*/ 246281 h 491771"/>
              <a:gd name="connsiteX44" fmla="*/ 472677 w 607568"/>
              <a:gd name="connsiteY44" fmla="*/ 234240 h 491771"/>
              <a:gd name="connsiteX45" fmla="*/ 469098 w 607568"/>
              <a:gd name="connsiteY45" fmla="*/ 223893 h 491771"/>
              <a:gd name="connsiteX46" fmla="*/ 439991 w 607568"/>
              <a:gd name="connsiteY46" fmla="*/ 182503 h 491771"/>
              <a:gd name="connsiteX47" fmla="*/ 426144 w 607568"/>
              <a:gd name="connsiteY47" fmla="*/ 172720 h 491771"/>
              <a:gd name="connsiteX48" fmla="*/ 441404 w 607568"/>
              <a:gd name="connsiteY48" fmla="*/ 143278 h 491771"/>
              <a:gd name="connsiteX49" fmla="*/ 439708 w 607568"/>
              <a:gd name="connsiteY49" fmla="*/ 107438 h 491771"/>
              <a:gd name="connsiteX50" fmla="*/ 500465 w 607568"/>
              <a:gd name="connsiteY50" fmla="*/ 66049 h 491771"/>
              <a:gd name="connsiteX51" fmla="*/ 107100 w 607568"/>
              <a:gd name="connsiteY51" fmla="*/ 66049 h 491771"/>
              <a:gd name="connsiteX52" fmla="*/ 171341 w 607568"/>
              <a:gd name="connsiteY52" fmla="*/ 123618 h 491771"/>
              <a:gd name="connsiteX53" fmla="*/ 172849 w 607568"/>
              <a:gd name="connsiteY53" fmla="*/ 143278 h 491771"/>
              <a:gd name="connsiteX54" fmla="*/ 184246 w 607568"/>
              <a:gd name="connsiteY54" fmla="*/ 168205 h 491771"/>
              <a:gd name="connsiteX55" fmla="*/ 167574 w 607568"/>
              <a:gd name="connsiteY55" fmla="*/ 182503 h 491771"/>
              <a:gd name="connsiteX56" fmla="*/ 138468 w 607568"/>
              <a:gd name="connsiteY56" fmla="*/ 223799 h 491771"/>
              <a:gd name="connsiteX57" fmla="*/ 134794 w 607568"/>
              <a:gd name="connsiteY57" fmla="*/ 234240 h 491771"/>
              <a:gd name="connsiteX58" fmla="*/ 137337 w 607568"/>
              <a:gd name="connsiteY58" fmla="*/ 246281 h 491771"/>
              <a:gd name="connsiteX59" fmla="*/ 152408 w 607568"/>
              <a:gd name="connsiteY59" fmla="*/ 261143 h 491771"/>
              <a:gd name="connsiteX60" fmla="*/ 165596 w 607568"/>
              <a:gd name="connsiteY60" fmla="*/ 263777 h 491771"/>
              <a:gd name="connsiteX61" fmla="*/ 179442 w 607568"/>
              <a:gd name="connsiteY61" fmla="*/ 268856 h 491771"/>
              <a:gd name="connsiteX62" fmla="*/ 146662 w 607568"/>
              <a:gd name="connsiteY62" fmla="*/ 310058 h 491771"/>
              <a:gd name="connsiteX63" fmla="*/ 123867 w 607568"/>
              <a:gd name="connsiteY63" fmla="*/ 384088 h 491771"/>
              <a:gd name="connsiteX64" fmla="*/ 27883 w 607568"/>
              <a:gd name="connsiteY64" fmla="*/ 384088 h 491771"/>
              <a:gd name="connsiteX65" fmla="*/ 6312 w 607568"/>
              <a:gd name="connsiteY65" fmla="*/ 373835 h 491771"/>
              <a:gd name="connsiteX66" fmla="*/ 566 w 607568"/>
              <a:gd name="connsiteY66" fmla="*/ 350788 h 491771"/>
              <a:gd name="connsiteX67" fmla="*/ 10268 w 607568"/>
              <a:gd name="connsiteY67" fmla="*/ 301968 h 491771"/>
              <a:gd name="connsiteX68" fmla="*/ 48606 w 607568"/>
              <a:gd name="connsiteY68" fmla="*/ 263777 h 491771"/>
              <a:gd name="connsiteX69" fmla="*/ 61699 w 607568"/>
              <a:gd name="connsiteY69" fmla="*/ 261237 h 491771"/>
              <a:gd name="connsiteX70" fmla="*/ 76770 w 607568"/>
              <a:gd name="connsiteY70" fmla="*/ 246281 h 491771"/>
              <a:gd name="connsiteX71" fmla="*/ 79313 w 607568"/>
              <a:gd name="connsiteY71" fmla="*/ 234240 h 491771"/>
              <a:gd name="connsiteX72" fmla="*/ 75639 w 607568"/>
              <a:gd name="connsiteY72" fmla="*/ 223893 h 491771"/>
              <a:gd name="connsiteX73" fmla="*/ 46628 w 607568"/>
              <a:gd name="connsiteY73" fmla="*/ 182503 h 491771"/>
              <a:gd name="connsiteX74" fmla="*/ 27318 w 607568"/>
              <a:gd name="connsiteY74" fmla="*/ 160962 h 491771"/>
              <a:gd name="connsiteX75" fmla="*/ 41447 w 607568"/>
              <a:gd name="connsiteY75" fmla="*/ 130673 h 491771"/>
              <a:gd name="connsiteX76" fmla="*/ 41824 w 607568"/>
              <a:gd name="connsiteY76" fmla="*/ 130673 h 491771"/>
              <a:gd name="connsiteX77" fmla="*/ 107100 w 607568"/>
              <a:gd name="connsiteY77" fmla="*/ 66049 h 491771"/>
              <a:gd name="connsiteX78" fmla="*/ 298626 w 607568"/>
              <a:gd name="connsiteY78" fmla="*/ 0 h 491771"/>
              <a:gd name="connsiteX79" fmla="*/ 315956 w 607568"/>
              <a:gd name="connsiteY79" fmla="*/ 0 h 491771"/>
              <a:gd name="connsiteX80" fmla="*/ 401854 w 607568"/>
              <a:gd name="connsiteY80" fmla="*/ 85787 h 491771"/>
              <a:gd name="connsiteX81" fmla="*/ 401854 w 607568"/>
              <a:gd name="connsiteY81" fmla="*/ 95476 h 491771"/>
              <a:gd name="connsiteX82" fmla="*/ 421633 w 607568"/>
              <a:gd name="connsiteY82" fmla="*/ 138840 h 491771"/>
              <a:gd name="connsiteX83" fmla="*/ 417960 w 607568"/>
              <a:gd name="connsiteY83" fmla="*/ 149281 h 491771"/>
              <a:gd name="connsiteX84" fmla="*/ 417112 w 607568"/>
              <a:gd name="connsiteY84" fmla="*/ 151068 h 491771"/>
              <a:gd name="connsiteX85" fmla="*/ 411273 w 607568"/>
              <a:gd name="connsiteY85" fmla="*/ 159534 h 491771"/>
              <a:gd name="connsiteX86" fmla="*/ 410896 w 607568"/>
              <a:gd name="connsiteY86" fmla="*/ 159910 h 491771"/>
              <a:gd name="connsiteX87" fmla="*/ 394037 w 607568"/>
              <a:gd name="connsiteY87" fmla="*/ 169787 h 491771"/>
              <a:gd name="connsiteX88" fmla="*/ 384900 w 607568"/>
              <a:gd name="connsiteY88" fmla="*/ 189541 h 491771"/>
              <a:gd name="connsiteX89" fmla="*/ 384712 w 607568"/>
              <a:gd name="connsiteY89" fmla="*/ 189823 h 491771"/>
              <a:gd name="connsiteX90" fmla="*/ 373316 w 607568"/>
              <a:gd name="connsiteY90" fmla="*/ 207131 h 491771"/>
              <a:gd name="connsiteX91" fmla="*/ 372750 w 607568"/>
              <a:gd name="connsiteY91" fmla="*/ 207789 h 491771"/>
              <a:gd name="connsiteX92" fmla="*/ 359847 w 607568"/>
              <a:gd name="connsiteY92" fmla="*/ 222275 h 491771"/>
              <a:gd name="connsiteX93" fmla="*/ 359188 w 607568"/>
              <a:gd name="connsiteY93" fmla="*/ 222934 h 491771"/>
              <a:gd name="connsiteX94" fmla="*/ 345154 w 607568"/>
              <a:gd name="connsiteY94" fmla="*/ 234598 h 491771"/>
              <a:gd name="connsiteX95" fmla="*/ 345625 w 607568"/>
              <a:gd name="connsiteY95" fmla="*/ 236855 h 491771"/>
              <a:gd name="connsiteX96" fmla="*/ 348639 w 607568"/>
              <a:gd name="connsiteY96" fmla="*/ 235538 h 491771"/>
              <a:gd name="connsiteX97" fmla="*/ 355514 w 607568"/>
              <a:gd name="connsiteY97" fmla="*/ 234033 h 491771"/>
              <a:gd name="connsiteX98" fmla="*/ 366628 w 607568"/>
              <a:gd name="connsiteY98" fmla="*/ 237326 h 491771"/>
              <a:gd name="connsiteX99" fmla="*/ 385371 w 607568"/>
              <a:gd name="connsiteY99" fmla="*/ 249648 h 491771"/>
              <a:gd name="connsiteX100" fmla="*/ 399876 w 607568"/>
              <a:gd name="connsiteY100" fmla="*/ 279373 h 491771"/>
              <a:gd name="connsiteX101" fmla="*/ 430016 w 607568"/>
              <a:gd name="connsiteY101" fmla="*/ 289814 h 491771"/>
              <a:gd name="connsiteX102" fmla="*/ 448382 w 607568"/>
              <a:gd name="connsiteY102" fmla="*/ 316058 h 491771"/>
              <a:gd name="connsiteX103" fmla="*/ 481630 w 607568"/>
              <a:gd name="connsiteY103" fmla="*/ 424515 h 491771"/>
              <a:gd name="connsiteX104" fmla="*/ 483891 w 607568"/>
              <a:gd name="connsiteY104" fmla="*/ 436461 h 491771"/>
              <a:gd name="connsiteX105" fmla="*/ 473718 w 607568"/>
              <a:gd name="connsiteY105" fmla="*/ 470700 h 491771"/>
              <a:gd name="connsiteX106" fmla="*/ 443956 w 607568"/>
              <a:gd name="connsiteY106" fmla="*/ 490360 h 491771"/>
              <a:gd name="connsiteX107" fmla="*/ 431805 w 607568"/>
              <a:gd name="connsiteY107" fmla="*/ 491771 h 491771"/>
              <a:gd name="connsiteX108" fmla="*/ 325375 w 607568"/>
              <a:gd name="connsiteY108" fmla="*/ 491771 h 491771"/>
              <a:gd name="connsiteX109" fmla="*/ 337430 w 607568"/>
              <a:gd name="connsiteY109" fmla="*/ 415296 h 491771"/>
              <a:gd name="connsiteX110" fmla="*/ 334605 w 607568"/>
              <a:gd name="connsiteY110" fmla="*/ 389052 h 491771"/>
              <a:gd name="connsiteX111" fmla="*/ 323962 w 607568"/>
              <a:gd name="connsiteY111" fmla="*/ 360927 h 491771"/>
              <a:gd name="connsiteX112" fmla="*/ 337430 w 607568"/>
              <a:gd name="connsiteY112" fmla="*/ 347476 h 491771"/>
              <a:gd name="connsiteX113" fmla="*/ 307196 w 607568"/>
              <a:gd name="connsiteY113" fmla="*/ 317281 h 491771"/>
              <a:gd name="connsiteX114" fmla="*/ 276868 w 607568"/>
              <a:gd name="connsiteY114" fmla="*/ 347476 h 491771"/>
              <a:gd name="connsiteX115" fmla="*/ 290337 w 607568"/>
              <a:gd name="connsiteY115" fmla="*/ 360927 h 491771"/>
              <a:gd name="connsiteX116" fmla="*/ 279694 w 607568"/>
              <a:gd name="connsiteY116" fmla="*/ 389052 h 491771"/>
              <a:gd name="connsiteX117" fmla="*/ 276963 w 607568"/>
              <a:gd name="connsiteY117" fmla="*/ 415296 h 491771"/>
              <a:gd name="connsiteX118" fmla="*/ 288736 w 607568"/>
              <a:gd name="connsiteY118" fmla="*/ 491771 h 491771"/>
              <a:gd name="connsiteX119" fmla="*/ 182493 w 607568"/>
              <a:gd name="connsiteY119" fmla="*/ 491771 h 491771"/>
              <a:gd name="connsiteX120" fmla="*/ 170437 w 607568"/>
              <a:gd name="connsiteY120" fmla="*/ 490360 h 491771"/>
              <a:gd name="connsiteX121" fmla="*/ 140675 w 607568"/>
              <a:gd name="connsiteY121" fmla="*/ 470700 h 491771"/>
              <a:gd name="connsiteX122" fmla="*/ 132669 w 607568"/>
              <a:gd name="connsiteY122" fmla="*/ 424515 h 491771"/>
              <a:gd name="connsiteX123" fmla="*/ 166011 w 607568"/>
              <a:gd name="connsiteY123" fmla="*/ 316058 h 491771"/>
              <a:gd name="connsiteX124" fmla="*/ 184377 w 607568"/>
              <a:gd name="connsiteY124" fmla="*/ 289814 h 491771"/>
              <a:gd name="connsiteX125" fmla="*/ 214517 w 607568"/>
              <a:gd name="connsiteY125" fmla="*/ 279373 h 491771"/>
              <a:gd name="connsiteX126" fmla="*/ 214517 w 607568"/>
              <a:gd name="connsiteY126" fmla="*/ 279279 h 491771"/>
              <a:gd name="connsiteX127" fmla="*/ 229022 w 607568"/>
              <a:gd name="connsiteY127" fmla="*/ 249648 h 491771"/>
              <a:gd name="connsiteX128" fmla="*/ 247765 w 607568"/>
              <a:gd name="connsiteY128" fmla="*/ 237326 h 491771"/>
              <a:gd name="connsiteX129" fmla="*/ 258879 w 607568"/>
              <a:gd name="connsiteY129" fmla="*/ 234033 h 491771"/>
              <a:gd name="connsiteX130" fmla="*/ 265754 w 607568"/>
              <a:gd name="connsiteY130" fmla="*/ 235538 h 491771"/>
              <a:gd name="connsiteX131" fmla="*/ 268768 w 607568"/>
              <a:gd name="connsiteY131" fmla="*/ 236855 h 491771"/>
              <a:gd name="connsiteX132" fmla="*/ 269239 w 607568"/>
              <a:gd name="connsiteY132" fmla="*/ 234598 h 491771"/>
              <a:gd name="connsiteX133" fmla="*/ 255205 w 607568"/>
              <a:gd name="connsiteY133" fmla="*/ 222934 h 491771"/>
              <a:gd name="connsiteX134" fmla="*/ 254546 w 607568"/>
              <a:gd name="connsiteY134" fmla="*/ 222275 h 491771"/>
              <a:gd name="connsiteX135" fmla="*/ 241548 w 607568"/>
              <a:gd name="connsiteY135" fmla="*/ 207789 h 491771"/>
              <a:gd name="connsiteX136" fmla="*/ 241077 w 607568"/>
              <a:gd name="connsiteY136" fmla="*/ 207225 h 491771"/>
              <a:gd name="connsiteX137" fmla="*/ 229681 w 607568"/>
              <a:gd name="connsiteY137" fmla="*/ 189823 h 491771"/>
              <a:gd name="connsiteX138" fmla="*/ 229493 w 607568"/>
              <a:gd name="connsiteY138" fmla="*/ 189635 h 491771"/>
              <a:gd name="connsiteX139" fmla="*/ 220356 w 607568"/>
              <a:gd name="connsiteY139" fmla="*/ 169787 h 491771"/>
              <a:gd name="connsiteX140" fmla="*/ 203497 w 607568"/>
              <a:gd name="connsiteY140" fmla="*/ 159910 h 491771"/>
              <a:gd name="connsiteX141" fmla="*/ 203120 w 607568"/>
              <a:gd name="connsiteY141" fmla="*/ 159534 h 491771"/>
              <a:gd name="connsiteX142" fmla="*/ 197281 w 607568"/>
              <a:gd name="connsiteY142" fmla="*/ 151068 h 491771"/>
              <a:gd name="connsiteX143" fmla="*/ 196433 w 607568"/>
              <a:gd name="connsiteY143" fmla="*/ 149281 h 491771"/>
              <a:gd name="connsiteX144" fmla="*/ 192666 w 607568"/>
              <a:gd name="connsiteY144" fmla="*/ 138840 h 491771"/>
              <a:gd name="connsiteX145" fmla="*/ 212727 w 607568"/>
              <a:gd name="connsiteY145" fmla="*/ 95476 h 491771"/>
              <a:gd name="connsiteX146" fmla="*/ 212727 w 607568"/>
              <a:gd name="connsiteY146" fmla="*/ 85787 h 491771"/>
              <a:gd name="connsiteX147" fmla="*/ 298626 w 607568"/>
              <a:gd name="connsiteY147" fmla="*/ 0 h 49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7568" h="491771">
                <a:moveTo>
                  <a:pt x="355420" y="250307"/>
                </a:moveTo>
                <a:cubicBezTo>
                  <a:pt x="354290" y="250307"/>
                  <a:pt x="353160" y="250871"/>
                  <a:pt x="352312" y="251812"/>
                </a:cubicBezTo>
                <a:lnTo>
                  <a:pt x="321042" y="289814"/>
                </a:lnTo>
                <a:cubicBezTo>
                  <a:pt x="319723" y="291507"/>
                  <a:pt x="319912" y="293953"/>
                  <a:pt x="321513" y="295364"/>
                </a:cubicBezTo>
                <a:lnTo>
                  <a:pt x="369736" y="338257"/>
                </a:lnTo>
                <a:cubicBezTo>
                  <a:pt x="370396" y="338822"/>
                  <a:pt x="371149" y="339104"/>
                  <a:pt x="371997" y="339104"/>
                </a:cubicBezTo>
                <a:cubicBezTo>
                  <a:pt x="372374" y="339104"/>
                  <a:pt x="372750" y="339010"/>
                  <a:pt x="373127" y="338916"/>
                </a:cubicBezTo>
                <a:cubicBezTo>
                  <a:pt x="374257" y="338539"/>
                  <a:pt x="375105" y="337505"/>
                  <a:pt x="375293" y="336282"/>
                </a:cubicBezTo>
                <a:lnTo>
                  <a:pt x="383676" y="279467"/>
                </a:lnTo>
                <a:cubicBezTo>
                  <a:pt x="384618" y="273164"/>
                  <a:pt x="381792" y="266768"/>
                  <a:pt x="376424" y="263287"/>
                </a:cubicBezTo>
                <a:lnTo>
                  <a:pt x="357681" y="250965"/>
                </a:lnTo>
                <a:cubicBezTo>
                  <a:pt x="357021" y="250495"/>
                  <a:pt x="356174" y="250307"/>
                  <a:pt x="355420" y="250307"/>
                </a:cubicBezTo>
                <a:close/>
                <a:moveTo>
                  <a:pt x="258879" y="250307"/>
                </a:moveTo>
                <a:cubicBezTo>
                  <a:pt x="258125" y="250307"/>
                  <a:pt x="257372" y="250495"/>
                  <a:pt x="256712" y="250965"/>
                </a:cubicBezTo>
                <a:lnTo>
                  <a:pt x="237969" y="263287"/>
                </a:lnTo>
                <a:cubicBezTo>
                  <a:pt x="232601" y="266768"/>
                  <a:pt x="229775" y="273164"/>
                  <a:pt x="230717" y="279467"/>
                </a:cubicBezTo>
                <a:lnTo>
                  <a:pt x="239100" y="336282"/>
                </a:lnTo>
                <a:cubicBezTo>
                  <a:pt x="239288" y="337505"/>
                  <a:pt x="240136" y="338539"/>
                  <a:pt x="241266" y="338916"/>
                </a:cubicBezTo>
                <a:cubicBezTo>
                  <a:pt x="241643" y="339010"/>
                  <a:pt x="242019" y="339104"/>
                  <a:pt x="242396" y="339104"/>
                </a:cubicBezTo>
                <a:cubicBezTo>
                  <a:pt x="243244" y="339104"/>
                  <a:pt x="243997" y="338822"/>
                  <a:pt x="244657" y="338257"/>
                </a:cubicBezTo>
                <a:lnTo>
                  <a:pt x="292880" y="295364"/>
                </a:lnTo>
                <a:cubicBezTo>
                  <a:pt x="294481" y="293953"/>
                  <a:pt x="294670" y="291507"/>
                  <a:pt x="293351" y="289814"/>
                </a:cubicBezTo>
                <a:lnTo>
                  <a:pt x="261987" y="251812"/>
                </a:lnTo>
                <a:cubicBezTo>
                  <a:pt x="261233" y="250871"/>
                  <a:pt x="260103" y="250307"/>
                  <a:pt x="258879" y="250307"/>
                </a:cubicBezTo>
                <a:close/>
                <a:moveTo>
                  <a:pt x="500465" y="66049"/>
                </a:moveTo>
                <a:cubicBezTo>
                  <a:pt x="548129" y="66049"/>
                  <a:pt x="562447" y="93516"/>
                  <a:pt x="565743" y="130673"/>
                </a:cubicBezTo>
                <a:cubicBezTo>
                  <a:pt x="565932" y="130673"/>
                  <a:pt x="566026" y="130673"/>
                  <a:pt x="566120" y="130673"/>
                </a:cubicBezTo>
                <a:cubicBezTo>
                  <a:pt x="577141" y="133118"/>
                  <a:pt x="583358" y="146664"/>
                  <a:pt x="580250" y="160962"/>
                </a:cubicBezTo>
                <a:cubicBezTo>
                  <a:pt x="577706" y="172532"/>
                  <a:pt x="569700" y="180904"/>
                  <a:pt x="560939" y="182503"/>
                </a:cubicBezTo>
                <a:cubicBezTo>
                  <a:pt x="554628" y="199529"/>
                  <a:pt x="543796" y="214016"/>
                  <a:pt x="531927" y="223799"/>
                </a:cubicBezTo>
                <a:cubicBezTo>
                  <a:pt x="528913" y="226338"/>
                  <a:pt x="527500" y="230383"/>
                  <a:pt x="528253" y="234240"/>
                </a:cubicBezTo>
                <a:lnTo>
                  <a:pt x="530797" y="246281"/>
                </a:lnTo>
                <a:cubicBezTo>
                  <a:pt x="532304" y="253806"/>
                  <a:pt x="538238" y="259732"/>
                  <a:pt x="545868" y="261143"/>
                </a:cubicBezTo>
                <a:lnTo>
                  <a:pt x="558961" y="263777"/>
                </a:lnTo>
                <a:cubicBezTo>
                  <a:pt x="578366" y="267634"/>
                  <a:pt x="593437" y="282684"/>
                  <a:pt x="597299" y="301968"/>
                </a:cubicBezTo>
                <a:lnTo>
                  <a:pt x="607002" y="350788"/>
                </a:lnTo>
                <a:cubicBezTo>
                  <a:pt x="608697" y="358972"/>
                  <a:pt x="606531" y="367438"/>
                  <a:pt x="601256" y="373835"/>
                </a:cubicBezTo>
                <a:cubicBezTo>
                  <a:pt x="595981" y="380325"/>
                  <a:pt x="588068" y="384088"/>
                  <a:pt x="579685" y="384088"/>
                </a:cubicBezTo>
                <a:lnTo>
                  <a:pt x="490386" y="384088"/>
                </a:lnTo>
                <a:lnTo>
                  <a:pt x="467685" y="310058"/>
                </a:lnTo>
                <a:cubicBezTo>
                  <a:pt x="461845" y="291150"/>
                  <a:pt x="448563" y="276194"/>
                  <a:pt x="431702" y="267445"/>
                </a:cubicBezTo>
                <a:cubicBezTo>
                  <a:pt x="434999" y="265940"/>
                  <a:pt x="438295" y="264529"/>
                  <a:pt x="441969" y="263777"/>
                </a:cubicBezTo>
                <a:lnTo>
                  <a:pt x="455157" y="261237"/>
                </a:lnTo>
                <a:cubicBezTo>
                  <a:pt x="462692" y="259732"/>
                  <a:pt x="468627" y="253806"/>
                  <a:pt x="470228" y="246281"/>
                </a:cubicBezTo>
                <a:lnTo>
                  <a:pt x="472677" y="234240"/>
                </a:lnTo>
                <a:cubicBezTo>
                  <a:pt x="473525" y="230383"/>
                  <a:pt x="472112" y="226338"/>
                  <a:pt x="469098" y="223893"/>
                </a:cubicBezTo>
                <a:cubicBezTo>
                  <a:pt x="457229" y="214016"/>
                  <a:pt x="446302" y="199529"/>
                  <a:pt x="439991" y="182503"/>
                </a:cubicBezTo>
                <a:cubicBezTo>
                  <a:pt x="434716" y="181563"/>
                  <a:pt x="429818" y="177894"/>
                  <a:pt x="426144" y="172720"/>
                </a:cubicBezTo>
                <a:cubicBezTo>
                  <a:pt x="433303" y="164725"/>
                  <a:pt x="438861" y="154754"/>
                  <a:pt x="441404" y="143278"/>
                </a:cubicBezTo>
                <a:cubicBezTo>
                  <a:pt x="444324" y="130485"/>
                  <a:pt x="443476" y="118068"/>
                  <a:pt x="439708" y="107438"/>
                </a:cubicBezTo>
                <a:cubicBezTo>
                  <a:pt x="447244" y="82699"/>
                  <a:pt x="464200" y="66049"/>
                  <a:pt x="500465" y="66049"/>
                </a:cubicBezTo>
                <a:close/>
                <a:moveTo>
                  <a:pt x="107100" y="66049"/>
                </a:moveTo>
                <a:cubicBezTo>
                  <a:pt x="151561" y="66049"/>
                  <a:pt x="166820" y="90130"/>
                  <a:pt x="171341" y="123618"/>
                </a:cubicBezTo>
                <a:cubicBezTo>
                  <a:pt x="170965" y="129920"/>
                  <a:pt x="171436" y="136505"/>
                  <a:pt x="172849" y="143278"/>
                </a:cubicBezTo>
                <a:cubicBezTo>
                  <a:pt x="174921" y="152590"/>
                  <a:pt x="178971" y="161056"/>
                  <a:pt x="184246" y="168205"/>
                </a:cubicBezTo>
                <a:cubicBezTo>
                  <a:pt x="180573" y="175919"/>
                  <a:pt x="174356" y="181281"/>
                  <a:pt x="167574" y="182503"/>
                </a:cubicBezTo>
                <a:cubicBezTo>
                  <a:pt x="161263" y="199529"/>
                  <a:pt x="150336" y="214016"/>
                  <a:pt x="138468" y="223799"/>
                </a:cubicBezTo>
                <a:cubicBezTo>
                  <a:pt x="135453" y="226338"/>
                  <a:pt x="134040" y="230383"/>
                  <a:pt x="134794" y="234240"/>
                </a:cubicBezTo>
                <a:lnTo>
                  <a:pt x="137337" y="246281"/>
                </a:lnTo>
                <a:cubicBezTo>
                  <a:pt x="138939" y="253806"/>
                  <a:pt x="144873" y="259732"/>
                  <a:pt x="152408" y="261143"/>
                </a:cubicBezTo>
                <a:lnTo>
                  <a:pt x="165596" y="263777"/>
                </a:lnTo>
                <a:cubicBezTo>
                  <a:pt x="170494" y="264812"/>
                  <a:pt x="175203" y="266505"/>
                  <a:pt x="179442" y="268856"/>
                </a:cubicBezTo>
                <a:cubicBezTo>
                  <a:pt x="164088" y="277793"/>
                  <a:pt x="152126" y="292279"/>
                  <a:pt x="146662" y="310058"/>
                </a:cubicBezTo>
                <a:lnTo>
                  <a:pt x="123867" y="384088"/>
                </a:lnTo>
                <a:lnTo>
                  <a:pt x="27883" y="384088"/>
                </a:lnTo>
                <a:cubicBezTo>
                  <a:pt x="19499" y="384088"/>
                  <a:pt x="11587" y="380325"/>
                  <a:pt x="6312" y="373835"/>
                </a:cubicBezTo>
                <a:cubicBezTo>
                  <a:pt x="1037" y="367438"/>
                  <a:pt x="-1129" y="358972"/>
                  <a:pt x="566" y="350788"/>
                </a:cubicBezTo>
                <a:lnTo>
                  <a:pt x="10268" y="301968"/>
                </a:lnTo>
                <a:cubicBezTo>
                  <a:pt x="14130" y="282684"/>
                  <a:pt x="29202" y="267634"/>
                  <a:pt x="48606" y="263777"/>
                </a:cubicBezTo>
                <a:lnTo>
                  <a:pt x="61699" y="261237"/>
                </a:lnTo>
                <a:cubicBezTo>
                  <a:pt x="69328" y="259732"/>
                  <a:pt x="75263" y="253806"/>
                  <a:pt x="76770" y="246281"/>
                </a:cubicBezTo>
                <a:lnTo>
                  <a:pt x="79313" y="234240"/>
                </a:lnTo>
                <a:cubicBezTo>
                  <a:pt x="80067" y="230383"/>
                  <a:pt x="78654" y="226338"/>
                  <a:pt x="75639" y="223893"/>
                </a:cubicBezTo>
                <a:cubicBezTo>
                  <a:pt x="63771" y="214016"/>
                  <a:pt x="52939" y="199623"/>
                  <a:pt x="46628" y="182503"/>
                </a:cubicBezTo>
                <a:cubicBezTo>
                  <a:pt x="37867" y="180904"/>
                  <a:pt x="29861" y="172532"/>
                  <a:pt x="27318" y="160962"/>
                </a:cubicBezTo>
                <a:cubicBezTo>
                  <a:pt x="24115" y="146664"/>
                  <a:pt x="30426" y="133118"/>
                  <a:pt x="41447" y="130673"/>
                </a:cubicBezTo>
                <a:cubicBezTo>
                  <a:pt x="41541" y="130673"/>
                  <a:pt x="41729" y="130673"/>
                  <a:pt x="41824" y="130673"/>
                </a:cubicBezTo>
                <a:cubicBezTo>
                  <a:pt x="45403" y="93516"/>
                  <a:pt x="60192" y="66049"/>
                  <a:pt x="107100" y="66049"/>
                </a:cubicBezTo>
                <a:close/>
                <a:moveTo>
                  <a:pt x="298626" y="0"/>
                </a:moveTo>
                <a:lnTo>
                  <a:pt x="315956" y="0"/>
                </a:lnTo>
                <a:cubicBezTo>
                  <a:pt x="363426" y="0"/>
                  <a:pt x="401854" y="38378"/>
                  <a:pt x="401854" y="85787"/>
                </a:cubicBezTo>
                <a:lnTo>
                  <a:pt x="401854" y="95476"/>
                </a:lnTo>
                <a:cubicBezTo>
                  <a:pt x="417301" y="99238"/>
                  <a:pt x="426154" y="118522"/>
                  <a:pt x="421633" y="138840"/>
                </a:cubicBezTo>
                <a:cubicBezTo>
                  <a:pt x="420880" y="142602"/>
                  <a:pt x="419467" y="146083"/>
                  <a:pt x="417960" y="149281"/>
                </a:cubicBezTo>
                <a:cubicBezTo>
                  <a:pt x="417677" y="149939"/>
                  <a:pt x="417395" y="150504"/>
                  <a:pt x="417112" y="151068"/>
                </a:cubicBezTo>
                <a:cubicBezTo>
                  <a:pt x="415417" y="154172"/>
                  <a:pt x="413533" y="157088"/>
                  <a:pt x="411273" y="159534"/>
                </a:cubicBezTo>
                <a:cubicBezTo>
                  <a:pt x="411179" y="159628"/>
                  <a:pt x="410990" y="159816"/>
                  <a:pt x="410896" y="159910"/>
                </a:cubicBezTo>
                <a:cubicBezTo>
                  <a:pt x="406092" y="165084"/>
                  <a:pt x="400159" y="168658"/>
                  <a:pt x="394037" y="169787"/>
                </a:cubicBezTo>
                <a:cubicBezTo>
                  <a:pt x="391494" y="176654"/>
                  <a:pt x="388385" y="183332"/>
                  <a:pt x="384900" y="189541"/>
                </a:cubicBezTo>
                <a:cubicBezTo>
                  <a:pt x="384806" y="189635"/>
                  <a:pt x="384806" y="189729"/>
                  <a:pt x="384712" y="189823"/>
                </a:cubicBezTo>
                <a:cubicBezTo>
                  <a:pt x="381227" y="196031"/>
                  <a:pt x="377460" y="201769"/>
                  <a:pt x="373316" y="207131"/>
                </a:cubicBezTo>
                <a:cubicBezTo>
                  <a:pt x="373127" y="207413"/>
                  <a:pt x="372939" y="207601"/>
                  <a:pt x="372750" y="207789"/>
                </a:cubicBezTo>
                <a:cubicBezTo>
                  <a:pt x="368700" y="213057"/>
                  <a:pt x="364368" y="217948"/>
                  <a:pt x="359847" y="222275"/>
                </a:cubicBezTo>
                <a:cubicBezTo>
                  <a:pt x="359658" y="222463"/>
                  <a:pt x="359376" y="222651"/>
                  <a:pt x="359188" y="222934"/>
                </a:cubicBezTo>
                <a:cubicBezTo>
                  <a:pt x="354667" y="227261"/>
                  <a:pt x="349957" y="231211"/>
                  <a:pt x="345154" y="234598"/>
                </a:cubicBezTo>
                <a:lnTo>
                  <a:pt x="345625" y="236855"/>
                </a:lnTo>
                <a:cubicBezTo>
                  <a:pt x="346567" y="236385"/>
                  <a:pt x="347603" y="235915"/>
                  <a:pt x="348639" y="235538"/>
                </a:cubicBezTo>
                <a:cubicBezTo>
                  <a:pt x="350899" y="234786"/>
                  <a:pt x="353065" y="234033"/>
                  <a:pt x="355514" y="234033"/>
                </a:cubicBezTo>
                <a:cubicBezTo>
                  <a:pt x="359470" y="234033"/>
                  <a:pt x="363238" y="235162"/>
                  <a:pt x="366628" y="237326"/>
                </a:cubicBezTo>
                <a:cubicBezTo>
                  <a:pt x="366628" y="237326"/>
                  <a:pt x="380756" y="246450"/>
                  <a:pt x="385371" y="249648"/>
                </a:cubicBezTo>
                <a:cubicBezTo>
                  <a:pt x="401854" y="261030"/>
                  <a:pt x="399876" y="279373"/>
                  <a:pt x="399876" y="279373"/>
                </a:cubicBezTo>
                <a:cubicBezTo>
                  <a:pt x="410990" y="279655"/>
                  <a:pt x="421822" y="283041"/>
                  <a:pt x="430016" y="289814"/>
                </a:cubicBezTo>
                <a:cubicBezTo>
                  <a:pt x="445180" y="302324"/>
                  <a:pt x="447535" y="313330"/>
                  <a:pt x="448382" y="316058"/>
                </a:cubicBezTo>
                <a:lnTo>
                  <a:pt x="481630" y="424515"/>
                </a:lnTo>
                <a:cubicBezTo>
                  <a:pt x="482855" y="428371"/>
                  <a:pt x="483608" y="432416"/>
                  <a:pt x="483891" y="436461"/>
                </a:cubicBezTo>
                <a:cubicBezTo>
                  <a:pt x="484644" y="448595"/>
                  <a:pt x="481159" y="460730"/>
                  <a:pt x="473718" y="470700"/>
                </a:cubicBezTo>
                <a:cubicBezTo>
                  <a:pt x="466372" y="480671"/>
                  <a:pt x="455823" y="487538"/>
                  <a:pt x="443956" y="490360"/>
                </a:cubicBezTo>
                <a:cubicBezTo>
                  <a:pt x="440000" y="491301"/>
                  <a:pt x="435950" y="491771"/>
                  <a:pt x="431805" y="491771"/>
                </a:cubicBezTo>
                <a:lnTo>
                  <a:pt x="325375" y="491771"/>
                </a:lnTo>
                <a:lnTo>
                  <a:pt x="337430" y="415296"/>
                </a:lnTo>
                <a:cubicBezTo>
                  <a:pt x="338749" y="406454"/>
                  <a:pt x="337807" y="397424"/>
                  <a:pt x="334605" y="389052"/>
                </a:cubicBezTo>
                <a:lnTo>
                  <a:pt x="323962" y="360927"/>
                </a:lnTo>
                <a:lnTo>
                  <a:pt x="337430" y="347476"/>
                </a:lnTo>
                <a:lnTo>
                  <a:pt x="307196" y="317281"/>
                </a:lnTo>
                <a:lnTo>
                  <a:pt x="276868" y="347476"/>
                </a:lnTo>
                <a:lnTo>
                  <a:pt x="290337" y="360927"/>
                </a:lnTo>
                <a:lnTo>
                  <a:pt x="279694" y="389052"/>
                </a:lnTo>
                <a:cubicBezTo>
                  <a:pt x="276586" y="397424"/>
                  <a:pt x="275644" y="406454"/>
                  <a:pt x="276963" y="415296"/>
                </a:cubicBezTo>
                <a:lnTo>
                  <a:pt x="288736" y="491771"/>
                </a:lnTo>
                <a:lnTo>
                  <a:pt x="182493" y="491771"/>
                </a:lnTo>
                <a:cubicBezTo>
                  <a:pt x="178443" y="491771"/>
                  <a:pt x="174299" y="491301"/>
                  <a:pt x="170437" y="490360"/>
                </a:cubicBezTo>
                <a:cubicBezTo>
                  <a:pt x="158570" y="487538"/>
                  <a:pt x="148021" y="480671"/>
                  <a:pt x="140675" y="470700"/>
                </a:cubicBezTo>
                <a:cubicBezTo>
                  <a:pt x="130785" y="457343"/>
                  <a:pt x="127865" y="440223"/>
                  <a:pt x="132669" y="424515"/>
                </a:cubicBezTo>
                <a:lnTo>
                  <a:pt x="166011" y="316058"/>
                </a:lnTo>
                <a:cubicBezTo>
                  <a:pt x="166858" y="313330"/>
                  <a:pt x="170908" y="300631"/>
                  <a:pt x="184377" y="289814"/>
                </a:cubicBezTo>
                <a:cubicBezTo>
                  <a:pt x="192666" y="283229"/>
                  <a:pt x="203403" y="279655"/>
                  <a:pt x="214517" y="279373"/>
                </a:cubicBezTo>
                <a:lnTo>
                  <a:pt x="214517" y="279279"/>
                </a:lnTo>
                <a:cubicBezTo>
                  <a:pt x="214140" y="273447"/>
                  <a:pt x="211880" y="260654"/>
                  <a:pt x="229022" y="249648"/>
                </a:cubicBezTo>
                <a:cubicBezTo>
                  <a:pt x="233731" y="246638"/>
                  <a:pt x="247765" y="237326"/>
                  <a:pt x="247765" y="237326"/>
                </a:cubicBezTo>
                <a:cubicBezTo>
                  <a:pt x="251061" y="235162"/>
                  <a:pt x="254923" y="234033"/>
                  <a:pt x="258879" y="234033"/>
                </a:cubicBezTo>
                <a:cubicBezTo>
                  <a:pt x="261328" y="234033"/>
                  <a:pt x="263494" y="234786"/>
                  <a:pt x="265754" y="235538"/>
                </a:cubicBezTo>
                <a:cubicBezTo>
                  <a:pt x="266790" y="236009"/>
                  <a:pt x="267826" y="236385"/>
                  <a:pt x="268768" y="236855"/>
                </a:cubicBezTo>
                <a:lnTo>
                  <a:pt x="269239" y="234598"/>
                </a:lnTo>
                <a:cubicBezTo>
                  <a:pt x="264436" y="231211"/>
                  <a:pt x="259726" y="227261"/>
                  <a:pt x="255205" y="222934"/>
                </a:cubicBezTo>
                <a:cubicBezTo>
                  <a:pt x="254923" y="222651"/>
                  <a:pt x="254735" y="222463"/>
                  <a:pt x="254546" y="222275"/>
                </a:cubicBezTo>
                <a:cubicBezTo>
                  <a:pt x="250025" y="217948"/>
                  <a:pt x="245693" y="213057"/>
                  <a:pt x="241548" y="207789"/>
                </a:cubicBezTo>
                <a:cubicBezTo>
                  <a:pt x="241454" y="207601"/>
                  <a:pt x="241266" y="207413"/>
                  <a:pt x="241077" y="207225"/>
                </a:cubicBezTo>
                <a:cubicBezTo>
                  <a:pt x="236933" y="201769"/>
                  <a:pt x="233072" y="196031"/>
                  <a:pt x="229681" y="189823"/>
                </a:cubicBezTo>
                <a:cubicBezTo>
                  <a:pt x="229587" y="189729"/>
                  <a:pt x="229587" y="189635"/>
                  <a:pt x="229493" y="189635"/>
                </a:cubicBezTo>
                <a:cubicBezTo>
                  <a:pt x="226008" y="183332"/>
                  <a:pt x="222899" y="176654"/>
                  <a:pt x="220356" y="169787"/>
                </a:cubicBezTo>
                <a:cubicBezTo>
                  <a:pt x="214140" y="168658"/>
                  <a:pt x="208301" y="165084"/>
                  <a:pt x="203497" y="159910"/>
                </a:cubicBezTo>
                <a:cubicBezTo>
                  <a:pt x="203309" y="159722"/>
                  <a:pt x="203214" y="159628"/>
                  <a:pt x="203120" y="159534"/>
                </a:cubicBezTo>
                <a:cubicBezTo>
                  <a:pt x="200860" y="157088"/>
                  <a:pt x="198976" y="154172"/>
                  <a:pt x="197281" y="151068"/>
                </a:cubicBezTo>
                <a:cubicBezTo>
                  <a:pt x="196998" y="150504"/>
                  <a:pt x="196716" y="149939"/>
                  <a:pt x="196433" y="149281"/>
                </a:cubicBezTo>
                <a:cubicBezTo>
                  <a:pt x="194832" y="146083"/>
                  <a:pt x="193513" y="142602"/>
                  <a:pt x="192666" y="138840"/>
                </a:cubicBezTo>
                <a:cubicBezTo>
                  <a:pt x="188145" y="118428"/>
                  <a:pt x="197092" y="99050"/>
                  <a:pt x="212727" y="95476"/>
                </a:cubicBezTo>
                <a:lnTo>
                  <a:pt x="212727" y="85787"/>
                </a:lnTo>
                <a:cubicBezTo>
                  <a:pt x="212727" y="38378"/>
                  <a:pt x="251155" y="0"/>
                  <a:pt x="29862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9135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怎样到医院就诊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1" name="任意多边形: 形状 30"/>
          <p:cNvSpPr/>
          <p:nvPr/>
        </p:nvSpPr>
        <p:spPr bwMode="auto">
          <a:xfrm>
            <a:off x="4375179" y="2776007"/>
            <a:ext cx="2246783" cy="794226"/>
          </a:xfrm>
          <a:custGeom>
            <a:avLst/>
            <a:gdLst>
              <a:gd name="T0" fmla="+- 0 5724 1442"/>
              <a:gd name="T1" fmla="*/ T0 w 20158"/>
              <a:gd name="T2" fmla="*/ 0 h 21600"/>
              <a:gd name="T3" fmla="+- 0 5486 1442"/>
              <a:gd name="T4" fmla="*/ T3 w 20158"/>
              <a:gd name="T5" fmla="*/ 21600 h 21600"/>
              <a:gd name="T6" fmla="+- 0 21600 1442"/>
              <a:gd name="T7" fmla="*/ T6 w 20158"/>
              <a:gd name="T8" fmla="*/ 21600 h 21600"/>
              <a:gd name="T9" fmla="+- 0 21600 1442"/>
              <a:gd name="T10" fmla="*/ T9 w 20158"/>
              <a:gd name="T11" fmla="*/ 14 h 21600"/>
              <a:gd name="T12" fmla="+- 0 5724 1442"/>
              <a:gd name="T13" fmla="*/ T12 w 20158"/>
              <a:gd name="T14" fmla="*/ 0 h 21600"/>
              <a:gd name="T15" fmla="+- 0 5724 1442"/>
              <a:gd name="T16" fmla="*/ T15 w 2015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20158" h="21600">
                <a:moveTo>
                  <a:pt x="4282" y="0"/>
                </a:moveTo>
                <a:cubicBezTo>
                  <a:pt x="-1330" y="0"/>
                  <a:pt x="-1442" y="21600"/>
                  <a:pt x="4044" y="21600"/>
                </a:cubicBezTo>
                <a:lnTo>
                  <a:pt x="20158" y="21600"/>
                </a:lnTo>
                <a:lnTo>
                  <a:pt x="20158" y="14"/>
                </a:lnTo>
                <a:lnTo>
                  <a:pt x="4282" y="0"/>
                </a:lnTo>
                <a:close/>
                <a:moveTo>
                  <a:pt x="4282" y="0"/>
                </a:move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endParaRPr lang="en-US" altLang="zh-CN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/>
          <p:cNvSpPr/>
          <p:nvPr/>
        </p:nvSpPr>
        <p:spPr bwMode="auto">
          <a:xfrm rot="10800000" flipV="1">
            <a:off x="6621962" y="2691516"/>
            <a:ext cx="1194859" cy="793521"/>
          </a:xfrm>
          <a:custGeom>
            <a:avLst/>
            <a:gdLst>
              <a:gd name="T0" fmla="+- 0 10168 2562"/>
              <a:gd name="T1" fmla="*/ T0 w 19038"/>
              <a:gd name="T2" fmla="*/ 0 h 21600"/>
              <a:gd name="T3" fmla="+- 0 9745 2562"/>
              <a:gd name="T4" fmla="*/ T3 w 19038"/>
              <a:gd name="T5" fmla="*/ 21600 h 21600"/>
              <a:gd name="T6" fmla="+- 0 21600 2562"/>
              <a:gd name="T7" fmla="*/ T6 w 19038"/>
              <a:gd name="T8" fmla="*/ 21600 h 21600"/>
              <a:gd name="T9" fmla="+- 0 21600 2562"/>
              <a:gd name="T10" fmla="*/ T9 w 19038"/>
              <a:gd name="T11" fmla="*/ 14 h 21600"/>
              <a:gd name="T12" fmla="+- 0 10168 2562"/>
              <a:gd name="T13" fmla="*/ T12 w 19038"/>
              <a:gd name="T14" fmla="*/ 0 h 21600"/>
              <a:gd name="T15" fmla="+- 0 10168 2562"/>
              <a:gd name="T16" fmla="*/ T15 w 1903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19038" h="21600">
                <a:moveTo>
                  <a:pt x="7606" y="0"/>
                </a:moveTo>
                <a:cubicBezTo>
                  <a:pt x="-2363" y="0"/>
                  <a:pt x="-2562" y="21600"/>
                  <a:pt x="7183" y="21600"/>
                </a:cubicBezTo>
                <a:lnTo>
                  <a:pt x="19038" y="21600"/>
                </a:lnTo>
                <a:lnTo>
                  <a:pt x="19038" y="14"/>
                </a:lnTo>
                <a:lnTo>
                  <a:pt x="7606" y="0"/>
                </a:lnTo>
                <a:close/>
                <a:moveTo>
                  <a:pt x="7606" y="0"/>
                </a:move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</a:t>
            </a:r>
            <a:r>
              <a:rPr lang="en-US" altLang="zh-CN" sz="100" b="1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DBFA84C4-8B2C-41E5-9E06-EEE61098B6BF}"/>
              </a:ext>
            </a:extLst>
          </p:cNvPr>
          <p:cNvSpPr/>
          <p:nvPr/>
        </p:nvSpPr>
        <p:spPr bwMode="auto">
          <a:xfrm>
            <a:off x="5272480" y="2978157"/>
            <a:ext cx="452180" cy="389926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1D3C4D4-1F3E-4C35-95D1-59438EC53AC5}"/>
              </a:ext>
            </a:extLst>
          </p:cNvPr>
          <p:cNvSpPr txBox="1"/>
          <p:nvPr/>
        </p:nvSpPr>
        <p:spPr>
          <a:xfrm flipH="1">
            <a:off x="1351202" y="3085170"/>
            <a:ext cx="30239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Cho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7A8E92E2-38C1-4ACC-934B-BC61A3EE4C23}"/>
              </a:ext>
            </a:extLst>
          </p:cNvPr>
          <p:cNvSpPr/>
          <p:nvPr/>
        </p:nvSpPr>
        <p:spPr>
          <a:xfrm flipH="1">
            <a:off x="1351202" y="2577339"/>
            <a:ext cx="30239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4375179" y="4806708"/>
            <a:ext cx="2246783" cy="794226"/>
          </a:xfrm>
          <a:custGeom>
            <a:avLst/>
            <a:gdLst>
              <a:gd name="T0" fmla="+- 0 5724 1442"/>
              <a:gd name="T1" fmla="*/ T0 w 20158"/>
              <a:gd name="T2" fmla="*/ 0 h 21600"/>
              <a:gd name="T3" fmla="+- 0 5486 1442"/>
              <a:gd name="T4" fmla="*/ T3 w 20158"/>
              <a:gd name="T5" fmla="*/ 21600 h 21600"/>
              <a:gd name="T6" fmla="+- 0 21600 1442"/>
              <a:gd name="T7" fmla="*/ T6 w 20158"/>
              <a:gd name="T8" fmla="*/ 21600 h 21600"/>
              <a:gd name="T9" fmla="+- 0 21600 1442"/>
              <a:gd name="T10" fmla="*/ T9 w 20158"/>
              <a:gd name="T11" fmla="*/ 14 h 21600"/>
              <a:gd name="T12" fmla="+- 0 5724 1442"/>
              <a:gd name="T13" fmla="*/ T12 w 20158"/>
              <a:gd name="T14" fmla="*/ 0 h 21600"/>
              <a:gd name="T15" fmla="+- 0 5724 1442"/>
              <a:gd name="T16" fmla="*/ T15 w 2015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20158" h="21600">
                <a:moveTo>
                  <a:pt x="4282" y="0"/>
                </a:moveTo>
                <a:cubicBezTo>
                  <a:pt x="-1330" y="0"/>
                  <a:pt x="-1442" y="21600"/>
                  <a:pt x="4044" y="21600"/>
                </a:cubicBezTo>
                <a:lnTo>
                  <a:pt x="20158" y="21600"/>
                </a:lnTo>
                <a:lnTo>
                  <a:pt x="20158" y="14"/>
                </a:lnTo>
                <a:lnTo>
                  <a:pt x="4282" y="0"/>
                </a:lnTo>
                <a:close/>
                <a:moveTo>
                  <a:pt x="4282" y="0"/>
                </a:move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endParaRPr lang="en-US" altLang="zh-CN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7" name="任意多边形: 形状 26"/>
          <p:cNvSpPr/>
          <p:nvPr/>
        </p:nvSpPr>
        <p:spPr bwMode="auto">
          <a:xfrm rot="10800000" flipV="1">
            <a:off x="6621962" y="4722216"/>
            <a:ext cx="1194859" cy="793521"/>
          </a:xfrm>
          <a:custGeom>
            <a:avLst/>
            <a:gdLst>
              <a:gd name="T0" fmla="+- 0 10168 2562"/>
              <a:gd name="T1" fmla="*/ T0 w 19038"/>
              <a:gd name="T2" fmla="*/ 0 h 21600"/>
              <a:gd name="T3" fmla="+- 0 9745 2562"/>
              <a:gd name="T4" fmla="*/ T3 w 19038"/>
              <a:gd name="T5" fmla="*/ 21600 h 21600"/>
              <a:gd name="T6" fmla="+- 0 21600 2562"/>
              <a:gd name="T7" fmla="*/ T6 w 19038"/>
              <a:gd name="T8" fmla="*/ 21600 h 21600"/>
              <a:gd name="T9" fmla="+- 0 21600 2562"/>
              <a:gd name="T10" fmla="*/ T9 w 19038"/>
              <a:gd name="T11" fmla="*/ 14 h 21600"/>
              <a:gd name="T12" fmla="+- 0 10168 2562"/>
              <a:gd name="T13" fmla="*/ T12 w 19038"/>
              <a:gd name="T14" fmla="*/ 0 h 21600"/>
              <a:gd name="T15" fmla="+- 0 10168 2562"/>
              <a:gd name="T16" fmla="*/ T15 w 1903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19038" h="21600">
                <a:moveTo>
                  <a:pt x="7606" y="0"/>
                </a:moveTo>
                <a:cubicBezTo>
                  <a:pt x="-2363" y="0"/>
                  <a:pt x="-2562" y="21600"/>
                  <a:pt x="7183" y="21600"/>
                </a:cubicBezTo>
                <a:lnTo>
                  <a:pt x="19038" y="21600"/>
                </a:lnTo>
                <a:lnTo>
                  <a:pt x="19038" y="14"/>
                </a:lnTo>
                <a:lnTo>
                  <a:pt x="7606" y="0"/>
                </a:lnTo>
                <a:close/>
                <a:moveTo>
                  <a:pt x="7606" y="0"/>
                </a:move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0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5034464-B54C-4576-A851-FB2F47274E6F}"/>
              </a:ext>
            </a:extLst>
          </p:cNvPr>
          <p:cNvSpPr/>
          <p:nvPr/>
        </p:nvSpPr>
        <p:spPr bwMode="auto">
          <a:xfrm>
            <a:off x="5243187" y="5014455"/>
            <a:ext cx="510766" cy="378732"/>
          </a:xfrm>
          <a:custGeom>
            <a:avLst/>
            <a:gdLst/>
            <a:ahLst/>
            <a:cxnLst>
              <a:cxn ang="0">
                <a:pos x="55" y="50"/>
              </a:cxn>
              <a:cxn ang="0">
                <a:pos x="16" y="50"/>
              </a:cxn>
              <a:cxn ang="0">
                <a:pos x="0" y="34"/>
              </a:cxn>
              <a:cxn ang="0">
                <a:pos x="9" y="20"/>
              </a:cxn>
              <a:cxn ang="0">
                <a:pos x="9" y="18"/>
              </a:cxn>
              <a:cxn ang="0">
                <a:pos x="27" y="0"/>
              </a:cxn>
              <a:cxn ang="0">
                <a:pos x="44" y="11"/>
              </a:cxn>
              <a:cxn ang="0">
                <a:pos x="50" y="9"/>
              </a:cxn>
              <a:cxn ang="0">
                <a:pos x="59" y="18"/>
              </a:cxn>
              <a:cxn ang="0">
                <a:pos x="58" y="23"/>
              </a:cxn>
              <a:cxn ang="0">
                <a:pos x="68" y="36"/>
              </a:cxn>
              <a:cxn ang="0">
                <a:pos x="55" y="50"/>
              </a:cxn>
              <a:cxn ang="0">
                <a:pos x="45" y="25"/>
              </a:cxn>
              <a:cxn ang="0">
                <a:pos x="33" y="13"/>
              </a:cxn>
              <a:cxn ang="0">
                <a:pos x="32" y="12"/>
              </a:cxn>
              <a:cxn ang="0">
                <a:pos x="31" y="13"/>
              </a:cxn>
              <a:cxn ang="0">
                <a:pos x="18" y="25"/>
              </a:cxn>
              <a:cxn ang="0">
                <a:pos x="18" y="26"/>
              </a:cxn>
              <a:cxn ang="0">
                <a:pos x="19" y="27"/>
              </a:cxn>
              <a:cxn ang="0">
                <a:pos x="27" y="27"/>
              </a:cxn>
              <a:cxn ang="0">
                <a:pos x="27" y="40"/>
              </a:cxn>
              <a:cxn ang="0">
                <a:pos x="28" y="41"/>
              </a:cxn>
              <a:cxn ang="0">
                <a:pos x="35" y="41"/>
              </a:cxn>
              <a:cxn ang="0">
                <a:pos x="36" y="40"/>
              </a:cxn>
              <a:cxn ang="0">
                <a:pos x="36" y="27"/>
              </a:cxn>
              <a:cxn ang="0">
                <a:pos x="44" y="27"/>
              </a:cxn>
              <a:cxn ang="0">
                <a:pos x="45" y="26"/>
              </a:cxn>
              <a:cxn ang="0">
                <a:pos x="45" y="25"/>
              </a:cxn>
            </a:cxnLst>
            <a:rect l="0" t="0" r="r" b="b"/>
            <a:pathLst>
              <a:path w="68" h="50">
                <a:moveTo>
                  <a:pt x="55" y="50"/>
                </a:moveTo>
                <a:cubicBezTo>
                  <a:pt x="16" y="50"/>
                  <a:pt x="16" y="50"/>
                  <a:pt x="16" y="50"/>
                </a:cubicBezTo>
                <a:cubicBezTo>
                  <a:pt x="7" y="50"/>
                  <a:pt x="0" y="43"/>
                  <a:pt x="0" y="34"/>
                </a:cubicBezTo>
                <a:cubicBezTo>
                  <a:pt x="0" y="28"/>
                  <a:pt x="3" y="22"/>
                  <a:pt x="9" y="20"/>
                </a:cubicBezTo>
                <a:cubicBezTo>
                  <a:pt x="9" y="19"/>
                  <a:pt x="9" y="19"/>
                  <a:pt x="9" y="18"/>
                </a:cubicBezTo>
                <a:cubicBezTo>
                  <a:pt x="9" y="8"/>
                  <a:pt x="17" y="0"/>
                  <a:pt x="27" y="0"/>
                </a:cubicBezTo>
                <a:cubicBezTo>
                  <a:pt x="35" y="0"/>
                  <a:pt x="41" y="4"/>
                  <a:pt x="44" y="11"/>
                </a:cubicBezTo>
                <a:cubicBezTo>
                  <a:pt x="46" y="10"/>
                  <a:pt x="48" y="9"/>
                  <a:pt x="50" y="9"/>
                </a:cubicBezTo>
                <a:cubicBezTo>
                  <a:pt x="55" y="9"/>
                  <a:pt x="59" y="13"/>
                  <a:pt x="59" y="18"/>
                </a:cubicBezTo>
                <a:cubicBezTo>
                  <a:pt x="59" y="20"/>
                  <a:pt x="59" y="22"/>
                  <a:pt x="58" y="23"/>
                </a:cubicBezTo>
                <a:cubicBezTo>
                  <a:pt x="64" y="25"/>
                  <a:pt x="68" y="30"/>
                  <a:pt x="68" y="36"/>
                </a:cubicBezTo>
                <a:cubicBezTo>
                  <a:pt x="68" y="44"/>
                  <a:pt x="62" y="50"/>
                  <a:pt x="55" y="50"/>
                </a:cubicBezTo>
                <a:close/>
                <a:moveTo>
                  <a:pt x="45" y="25"/>
                </a:moveTo>
                <a:cubicBezTo>
                  <a:pt x="33" y="13"/>
                  <a:pt x="33" y="13"/>
                  <a:pt x="33" y="13"/>
                </a:cubicBezTo>
                <a:cubicBezTo>
                  <a:pt x="32" y="13"/>
                  <a:pt x="32" y="12"/>
                  <a:pt x="32" y="12"/>
                </a:cubicBezTo>
                <a:cubicBezTo>
                  <a:pt x="31" y="12"/>
                  <a:pt x="31" y="13"/>
                  <a:pt x="31" y="13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27"/>
                  <a:pt x="19" y="27"/>
                  <a:pt x="19" y="27"/>
                </a:cubicBezTo>
                <a:cubicBezTo>
                  <a:pt x="27" y="27"/>
                  <a:pt x="27" y="27"/>
                  <a:pt x="27" y="27"/>
                </a:cubicBezTo>
                <a:cubicBezTo>
                  <a:pt x="27" y="40"/>
                  <a:pt x="27" y="40"/>
                  <a:pt x="27" y="40"/>
                </a:cubicBezTo>
                <a:cubicBezTo>
                  <a:pt x="27" y="41"/>
                  <a:pt x="28" y="41"/>
                  <a:pt x="28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6" y="41"/>
                  <a:pt x="36" y="41"/>
                  <a:pt x="36" y="40"/>
                </a:cubicBezTo>
                <a:cubicBezTo>
                  <a:pt x="36" y="27"/>
                  <a:pt x="36" y="27"/>
                  <a:pt x="36" y="27"/>
                </a:cubicBezTo>
                <a:cubicBezTo>
                  <a:pt x="44" y="27"/>
                  <a:pt x="44" y="27"/>
                  <a:pt x="44" y="27"/>
                </a:cubicBezTo>
                <a:cubicBezTo>
                  <a:pt x="45" y="27"/>
                  <a:pt x="45" y="27"/>
                  <a:pt x="45" y="26"/>
                </a:cubicBezTo>
                <a:cubicBezTo>
                  <a:pt x="45" y="26"/>
                  <a:pt x="45" y="26"/>
                  <a:pt x="45" y="2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007AD9C-436B-4258-9286-FB04A708C64E}"/>
              </a:ext>
            </a:extLst>
          </p:cNvPr>
          <p:cNvSpPr txBox="1"/>
          <p:nvPr/>
        </p:nvSpPr>
        <p:spPr>
          <a:xfrm flipH="1">
            <a:off x="1351202" y="5115871"/>
            <a:ext cx="30239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Cho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4C4CF775-6E70-4F52-8823-D1404521173A}"/>
              </a:ext>
            </a:extLst>
          </p:cNvPr>
          <p:cNvSpPr/>
          <p:nvPr/>
        </p:nvSpPr>
        <p:spPr>
          <a:xfrm flipH="1">
            <a:off x="1351202" y="4608040"/>
            <a:ext cx="30239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 bwMode="auto">
          <a:xfrm>
            <a:off x="4375179" y="1760658"/>
            <a:ext cx="2246783" cy="794226"/>
          </a:xfrm>
          <a:custGeom>
            <a:avLst/>
            <a:gdLst>
              <a:gd name="T0" fmla="+- 0 5724 1442"/>
              <a:gd name="T1" fmla="*/ T0 w 20158"/>
              <a:gd name="T2" fmla="*/ 0 h 21600"/>
              <a:gd name="T3" fmla="+- 0 5486 1442"/>
              <a:gd name="T4" fmla="*/ T3 w 20158"/>
              <a:gd name="T5" fmla="*/ 21600 h 21600"/>
              <a:gd name="T6" fmla="+- 0 21600 1442"/>
              <a:gd name="T7" fmla="*/ T6 w 20158"/>
              <a:gd name="T8" fmla="*/ 21600 h 21600"/>
              <a:gd name="T9" fmla="+- 0 21600 1442"/>
              <a:gd name="T10" fmla="*/ T9 w 20158"/>
              <a:gd name="T11" fmla="*/ 14 h 21600"/>
              <a:gd name="T12" fmla="+- 0 5724 1442"/>
              <a:gd name="T13" fmla="*/ T12 w 20158"/>
              <a:gd name="T14" fmla="*/ 0 h 21600"/>
              <a:gd name="T15" fmla="+- 0 5724 1442"/>
              <a:gd name="T16" fmla="*/ T15 w 2015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20158" h="21600">
                <a:moveTo>
                  <a:pt x="4282" y="0"/>
                </a:moveTo>
                <a:cubicBezTo>
                  <a:pt x="-1330" y="0"/>
                  <a:pt x="-1442" y="21600"/>
                  <a:pt x="4044" y="21600"/>
                </a:cubicBezTo>
                <a:lnTo>
                  <a:pt x="20158" y="21600"/>
                </a:lnTo>
                <a:lnTo>
                  <a:pt x="20158" y="14"/>
                </a:lnTo>
                <a:lnTo>
                  <a:pt x="4282" y="0"/>
                </a:lnTo>
                <a:close/>
                <a:moveTo>
                  <a:pt x="4282" y="0"/>
                </a:move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endParaRPr lang="en-US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" name="任意多边形: 形状 21"/>
          <p:cNvSpPr/>
          <p:nvPr/>
        </p:nvSpPr>
        <p:spPr bwMode="auto">
          <a:xfrm rot="10800000" flipV="1">
            <a:off x="6621962" y="1676167"/>
            <a:ext cx="1194859" cy="793521"/>
          </a:xfrm>
          <a:custGeom>
            <a:avLst/>
            <a:gdLst>
              <a:gd name="T0" fmla="+- 0 10168 2562"/>
              <a:gd name="T1" fmla="*/ T0 w 19038"/>
              <a:gd name="T2" fmla="*/ 0 h 21600"/>
              <a:gd name="T3" fmla="+- 0 9745 2562"/>
              <a:gd name="T4" fmla="*/ T3 w 19038"/>
              <a:gd name="T5" fmla="*/ 21600 h 21600"/>
              <a:gd name="T6" fmla="+- 0 21600 2562"/>
              <a:gd name="T7" fmla="*/ T6 w 19038"/>
              <a:gd name="T8" fmla="*/ 21600 h 21600"/>
              <a:gd name="T9" fmla="+- 0 21600 2562"/>
              <a:gd name="T10" fmla="*/ T9 w 19038"/>
              <a:gd name="T11" fmla="*/ 14 h 21600"/>
              <a:gd name="T12" fmla="+- 0 10168 2562"/>
              <a:gd name="T13" fmla="*/ T12 w 19038"/>
              <a:gd name="T14" fmla="*/ 0 h 21600"/>
              <a:gd name="T15" fmla="+- 0 10168 2562"/>
              <a:gd name="T16" fmla="*/ T15 w 1903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19038" h="21600">
                <a:moveTo>
                  <a:pt x="7606" y="0"/>
                </a:moveTo>
                <a:cubicBezTo>
                  <a:pt x="-2363" y="0"/>
                  <a:pt x="-2562" y="21600"/>
                  <a:pt x="7183" y="21600"/>
                </a:cubicBezTo>
                <a:lnTo>
                  <a:pt x="19038" y="21600"/>
                </a:lnTo>
                <a:lnTo>
                  <a:pt x="19038" y="14"/>
                </a:lnTo>
                <a:lnTo>
                  <a:pt x="7606" y="0"/>
                </a:lnTo>
                <a:close/>
                <a:moveTo>
                  <a:pt x="7606" y="0"/>
                </a:moveTo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0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835C7624-4047-4A80-B3DD-0F7229ABB7BC}"/>
              </a:ext>
            </a:extLst>
          </p:cNvPr>
          <p:cNvSpPr/>
          <p:nvPr/>
        </p:nvSpPr>
        <p:spPr bwMode="auto">
          <a:xfrm>
            <a:off x="5257733" y="1934957"/>
            <a:ext cx="481674" cy="445628"/>
          </a:xfrm>
          <a:custGeom>
            <a:avLst/>
            <a:gdLst/>
            <a:ahLst/>
            <a:cxnLst>
              <a:cxn ang="0">
                <a:pos x="39" y="36"/>
              </a:cxn>
              <a:cxn ang="0">
                <a:pos x="41" y="44"/>
              </a:cxn>
              <a:cxn ang="0">
                <a:pos x="35" y="50"/>
              </a:cxn>
              <a:cxn ang="0">
                <a:pos x="27" y="53"/>
              </a:cxn>
              <a:cxn ang="0">
                <a:pos x="18" y="53"/>
              </a:cxn>
              <a:cxn ang="0">
                <a:pos x="11" y="50"/>
              </a:cxn>
              <a:cxn ang="0">
                <a:pos x="4" y="44"/>
              </a:cxn>
              <a:cxn ang="0">
                <a:pos x="6" y="36"/>
              </a:cxn>
              <a:cxn ang="0">
                <a:pos x="0" y="28"/>
              </a:cxn>
              <a:cxn ang="0">
                <a:pos x="7" y="23"/>
              </a:cxn>
              <a:cxn ang="0">
                <a:pos x="4" y="18"/>
              </a:cxn>
              <a:cxn ang="0">
                <a:pos x="15" y="16"/>
              </a:cxn>
              <a:cxn ang="0">
                <a:pos x="19" y="8"/>
              </a:cxn>
              <a:cxn ang="0">
                <a:pos x="28" y="15"/>
              </a:cxn>
              <a:cxn ang="0">
                <a:pos x="35" y="12"/>
              </a:cxn>
              <a:cxn ang="0">
                <a:pos x="41" y="19"/>
              </a:cxn>
              <a:cxn ang="0">
                <a:pos x="45" y="27"/>
              </a:cxn>
              <a:cxn ang="0">
                <a:pos x="23" y="22"/>
              </a:cxn>
              <a:cxn ang="0">
                <a:pos x="32" y="31"/>
              </a:cxn>
              <a:cxn ang="0">
                <a:pos x="63" y="16"/>
              </a:cxn>
              <a:cxn ang="0">
                <a:pos x="64" y="24"/>
              </a:cxn>
              <a:cxn ang="0">
                <a:pos x="55" y="22"/>
              </a:cxn>
              <a:cxn ang="0">
                <a:pos x="46" y="24"/>
              </a:cxn>
              <a:cxn ang="0">
                <a:pos x="46" y="16"/>
              </a:cxn>
              <a:cxn ang="0">
                <a:pos x="46" y="9"/>
              </a:cxn>
              <a:cxn ang="0">
                <a:pos x="46" y="2"/>
              </a:cxn>
              <a:cxn ang="0">
                <a:pos x="55" y="4"/>
              </a:cxn>
              <a:cxn ang="0">
                <a:pos x="59" y="0"/>
              </a:cxn>
              <a:cxn ang="0">
                <a:pos x="62" y="7"/>
              </a:cxn>
              <a:cxn ang="0">
                <a:pos x="68" y="15"/>
              </a:cxn>
              <a:cxn ang="0">
                <a:pos x="62" y="55"/>
              </a:cxn>
              <a:cxn ang="0">
                <a:pos x="59" y="63"/>
              </a:cxn>
              <a:cxn ang="0">
                <a:pos x="54" y="59"/>
              </a:cxn>
              <a:cxn ang="0">
                <a:pos x="45" y="60"/>
              </a:cxn>
              <a:cxn ang="0">
                <a:pos x="41" y="52"/>
              </a:cxn>
              <a:cxn ang="0">
                <a:pos x="47" y="44"/>
              </a:cxn>
              <a:cxn ang="0">
                <a:pos x="50" y="36"/>
              </a:cxn>
              <a:cxn ang="0">
                <a:pos x="56" y="40"/>
              </a:cxn>
              <a:cxn ang="0">
                <a:pos x="64" y="39"/>
              </a:cxn>
              <a:cxn ang="0">
                <a:pos x="63" y="46"/>
              </a:cxn>
              <a:cxn ang="0">
                <a:pos x="55" y="8"/>
              </a:cxn>
              <a:cxn ang="0">
                <a:pos x="59" y="13"/>
              </a:cxn>
              <a:cxn ang="0">
                <a:pos x="50" y="49"/>
              </a:cxn>
              <a:cxn ang="0">
                <a:pos x="55" y="45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3F08CFC-7B0D-4D9B-A98D-25BAAE6F8C58}"/>
              </a:ext>
            </a:extLst>
          </p:cNvPr>
          <p:cNvSpPr txBox="1"/>
          <p:nvPr/>
        </p:nvSpPr>
        <p:spPr>
          <a:xfrm flipH="1">
            <a:off x="7816821" y="2069821"/>
            <a:ext cx="30239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 </a:t>
            </a:r>
            <a:r>
              <a:rPr lang="en-US" altLang="zh-CN" sz="1100" dirty="0">
                <a:cs typeface="+mn-ea"/>
                <a:sym typeface="+mn-lt"/>
              </a:rPr>
              <a:t>to retain text……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BCD2DC19-2805-4032-AF35-F401B5E81D4A}"/>
              </a:ext>
            </a:extLst>
          </p:cNvPr>
          <p:cNvSpPr/>
          <p:nvPr/>
        </p:nvSpPr>
        <p:spPr>
          <a:xfrm flipH="1">
            <a:off x="7816821" y="1561990"/>
            <a:ext cx="30239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16" name="任意多边形: 形状 15"/>
          <p:cNvSpPr/>
          <p:nvPr/>
        </p:nvSpPr>
        <p:spPr bwMode="auto">
          <a:xfrm>
            <a:off x="4375179" y="3791357"/>
            <a:ext cx="2246783" cy="794226"/>
          </a:xfrm>
          <a:custGeom>
            <a:avLst/>
            <a:gdLst>
              <a:gd name="T0" fmla="+- 0 5724 1442"/>
              <a:gd name="T1" fmla="*/ T0 w 20158"/>
              <a:gd name="T2" fmla="*/ 0 h 21600"/>
              <a:gd name="T3" fmla="+- 0 5486 1442"/>
              <a:gd name="T4" fmla="*/ T3 w 20158"/>
              <a:gd name="T5" fmla="*/ 21600 h 21600"/>
              <a:gd name="T6" fmla="+- 0 21600 1442"/>
              <a:gd name="T7" fmla="*/ T6 w 20158"/>
              <a:gd name="T8" fmla="*/ 21600 h 21600"/>
              <a:gd name="T9" fmla="+- 0 21600 1442"/>
              <a:gd name="T10" fmla="*/ T9 w 20158"/>
              <a:gd name="T11" fmla="*/ 14 h 21600"/>
              <a:gd name="T12" fmla="+- 0 5724 1442"/>
              <a:gd name="T13" fmla="*/ T12 w 20158"/>
              <a:gd name="T14" fmla="*/ 0 h 21600"/>
              <a:gd name="T15" fmla="+- 0 5724 1442"/>
              <a:gd name="T16" fmla="*/ T15 w 2015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20158" h="21600">
                <a:moveTo>
                  <a:pt x="4282" y="0"/>
                </a:moveTo>
                <a:cubicBezTo>
                  <a:pt x="-1330" y="0"/>
                  <a:pt x="-1442" y="21600"/>
                  <a:pt x="4044" y="21600"/>
                </a:cubicBezTo>
                <a:lnTo>
                  <a:pt x="20158" y="21600"/>
                </a:lnTo>
                <a:lnTo>
                  <a:pt x="20158" y="14"/>
                </a:lnTo>
                <a:lnTo>
                  <a:pt x="4282" y="0"/>
                </a:lnTo>
                <a:close/>
                <a:moveTo>
                  <a:pt x="4282" y="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endParaRPr lang="en-US" altLang="zh-CN" sz="2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任意多边形: 形状 16"/>
          <p:cNvSpPr/>
          <p:nvPr/>
        </p:nvSpPr>
        <p:spPr bwMode="auto">
          <a:xfrm rot="10800000" flipV="1">
            <a:off x="6621962" y="3706864"/>
            <a:ext cx="1194859" cy="793521"/>
          </a:xfrm>
          <a:custGeom>
            <a:avLst/>
            <a:gdLst>
              <a:gd name="T0" fmla="+- 0 10168 2562"/>
              <a:gd name="T1" fmla="*/ T0 w 19038"/>
              <a:gd name="T2" fmla="*/ 0 h 21600"/>
              <a:gd name="T3" fmla="+- 0 9745 2562"/>
              <a:gd name="T4" fmla="*/ T3 w 19038"/>
              <a:gd name="T5" fmla="*/ 21600 h 21600"/>
              <a:gd name="T6" fmla="+- 0 21600 2562"/>
              <a:gd name="T7" fmla="*/ T6 w 19038"/>
              <a:gd name="T8" fmla="*/ 21600 h 21600"/>
              <a:gd name="T9" fmla="+- 0 21600 2562"/>
              <a:gd name="T10" fmla="*/ T9 w 19038"/>
              <a:gd name="T11" fmla="*/ 14 h 21600"/>
              <a:gd name="T12" fmla="+- 0 10168 2562"/>
              <a:gd name="T13" fmla="*/ T12 w 19038"/>
              <a:gd name="T14" fmla="*/ 0 h 21600"/>
              <a:gd name="T15" fmla="+- 0 10168 2562"/>
              <a:gd name="T16" fmla="*/ T15 w 19038"/>
              <a:gd name="T17" fmla="*/ 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  <a:cxn ang="0">
                <a:pos x="T16" y="T17"/>
              </a:cxn>
            </a:cxnLst>
            <a:rect l="0" t="0" r="r" b="b"/>
            <a:pathLst>
              <a:path w="19038" h="21600">
                <a:moveTo>
                  <a:pt x="7606" y="0"/>
                </a:moveTo>
                <a:cubicBezTo>
                  <a:pt x="-2363" y="0"/>
                  <a:pt x="-2562" y="21600"/>
                  <a:pt x="7183" y="21600"/>
                </a:cubicBezTo>
                <a:lnTo>
                  <a:pt x="19038" y="21600"/>
                </a:lnTo>
                <a:lnTo>
                  <a:pt x="19038" y="14"/>
                </a:lnTo>
                <a:lnTo>
                  <a:pt x="7606" y="0"/>
                </a:lnTo>
                <a:close/>
                <a:moveTo>
                  <a:pt x="7606" y="0"/>
                </a:move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xtLst>
            <a:ext uri="{91240B29-F687-4f45-9708-019B960494DF}">
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1pPr>
            <a:lvl2pPr marL="1714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2pPr>
            <a:lvl3pPr marL="3429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3pPr>
            <a:lvl4pPr marL="51435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4pPr>
            <a:lvl5pPr marL="685800" algn="ctr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</a:defRPr>
            </a:lvl5pPr>
            <a:lvl6pPr marL="8572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6pPr>
            <a:lvl7pPr marL="10287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7pPr>
            <a:lvl8pPr marL="120015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8pPr>
            <a:lvl9pPr marL="1371600" algn="l" defTabSz="171450" rtl="0" eaLnBrk="1" latinLnBrk="0" hangingPunct="1">
              <a:defRPr sz="2100" kern="1200">
                <a:solidFill>
                  <a:srgbClr val="000000"/>
                </a:solidFill>
              </a:defRPr>
            </a:lvl9pPr>
          </a:lstStyle>
          <a:p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0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9C281490-6387-4815-BB0A-6DF639694347}"/>
              </a:ext>
            </a:extLst>
          </p:cNvPr>
          <p:cNvSpPr/>
          <p:nvPr/>
        </p:nvSpPr>
        <p:spPr bwMode="auto">
          <a:xfrm>
            <a:off x="5257733" y="3978763"/>
            <a:ext cx="481674" cy="419414"/>
          </a:xfrm>
          <a:custGeom>
            <a:avLst/>
            <a:gdLst/>
            <a:ahLst/>
            <a:cxnLst>
              <a:cxn ang="0">
                <a:pos x="68" y="18"/>
              </a:cxn>
              <a:cxn ang="0">
                <a:pos x="68" y="50"/>
              </a:cxn>
              <a:cxn ang="0">
                <a:pos x="59" y="59"/>
              </a:cxn>
              <a:cxn ang="0">
                <a:pos x="9" y="59"/>
              </a:cxn>
              <a:cxn ang="0">
                <a:pos x="0" y="50"/>
              </a:cxn>
              <a:cxn ang="0">
                <a:pos x="0" y="18"/>
              </a:cxn>
              <a:cxn ang="0">
                <a:pos x="9" y="9"/>
              </a:cxn>
              <a:cxn ang="0">
                <a:pos x="17" y="9"/>
              </a:cxn>
              <a:cxn ang="0">
                <a:pos x="19" y="4"/>
              </a:cxn>
              <a:cxn ang="0">
                <a:pos x="25" y="0"/>
              </a:cxn>
              <a:cxn ang="0">
                <a:pos x="43" y="0"/>
              </a:cxn>
              <a:cxn ang="0">
                <a:pos x="49" y="4"/>
              </a:cxn>
              <a:cxn ang="0">
                <a:pos x="51" y="9"/>
              </a:cxn>
              <a:cxn ang="0">
                <a:pos x="59" y="9"/>
              </a:cxn>
              <a:cxn ang="0">
                <a:pos x="68" y="18"/>
              </a:cxn>
              <a:cxn ang="0">
                <a:pos x="50" y="34"/>
              </a:cxn>
              <a:cxn ang="0">
                <a:pos x="34" y="18"/>
              </a:cxn>
              <a:cxn ang="0">
                <a:pos x="18" y="34"/>
              </a:cxn>
              <a:cxn ang="0">
                <a:pos x="34" y="50"/>
              </a:cxn>
              <a:cxn ang="0">
                <a:pos x="50" y="34"/>
              </a:cxn>
              <a:cxn ang="0">
                <a:pos x="44" y="34"/>
              </a:cxn>
              <a:cxn ang="0">
                <a:pos x="34" y="44"/>
              </a:cxn>
              <a:cxn ang="0">
                <a:pos x="24" y="34"/>
              </a:cxn>
              <a:cxn ang="0">
                <a:pos x="34" y="24"/>
              </a:cxn>
              <a:cxn ang="0">
                <a:pos x="44" y="34"/>
              </a:cxn>
            </a:cxnLst>
            <a:rect l="0" t="0" r="r" b="b"/>
            <a:pathLst>
              <a:path w="68" h="59">
                <a:moveTo>
                  <a:pt x="68" y="18"/>
                </a:moveTo>
                <a:cubicBezTo>
                  <a:pt x="68" y="50"/>
                  <a:pt x="68" y="50"/>
                  <a:pt x="68" y="50"/>
                </a:cubicBezTo>
                <a:cubicBezTo>
                  <a:pt x="68" y="55"/>
                  <a:pt x="64" y="59"/>
                  <a:pt x="59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4" y="59"/>
                  <a:pt x="0" y="55"/>
                  <a:pt x="0" y="50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9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9" y="4"/>
                  <a:pt x="19" y="4"/>
                  <a:pt x="19" y="4"/>
                </a:cubicBezTo>
                <a:cubicBezTo>
                  <a:pt x="20" y="2"/>
                  <a:pt x="22" y="0"/>
                  <a:pt x="2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6" y="0"/>
                  <a:pt x="48" y="2"/>
                  <a:pt x="49" y="4"/>
                </a:cubicBezTo>
                <a:cubicBezTo>
                  <a:pt x="51" y="9"/>
                  <a:pt x="51" y="9"/>
                  <a:pt x="51" y="9"/>
                </a:cubicBezTo>
                <a:cubicBezTo>
                  <a:pt x="59" y="9"/>
                  <a:pt x="59" y="9"/>
                  <a:pt x="59" y="9"/>
                </a:cubicBezTo>
                <a:cubicBezTo>
                  <a:pt x="64" y="9"/>
                  <a:pt x="68" y="13"/>
                  <a:pt x="68" y="18"/>
                </a:cubicBezTo>
                <a:close/>
                <a:moveTo>
                  <a:pt x="50" y="34"/>
                </a:moveTo>
                <a:cubicBezTo>
                  <a:pt x="50" y="25"/>
                  <a:pt x="43" y="18"/>
                  <a:pt x="34" y="18"/>
                </a:cubicBezTo>
                <a:cubicBezTo>
                  <a:pt x="25" y="18"/>
                  <a:pt x="18" y="25"/>
                  <a:pt x="18" y="34"/>
                </a:cubicBezTo>
                <a:cubicBezTo>
                  <a:pt x="18" y="43"/>
                  <a:pt x="25" y="50"/>
                  <a:pt x="34" y="50"/>
                </a:cubicBezTo>
                <a:cubicBezTo>
                  <a:pt x="43" y="50"/>
                  <a:pt x="50" y="43"/>
                  <a:pt x="50" y="34"/>
                </a:cubicBezTo>
                <a:close/>
                <a:moveTo>
                  <a:pt x="44" y="34"/>
                </a:moveTo>
                <a:cubicBezTo>
                  <a:pt x="44" y="40"/>
                  <a:pt x="40" y="44"/>
                  <a:pt x="34" y="44"/>
                </a:cubicBezTo>
                <a:cubicBezTo>
                  <a:pt x="28" y="44"/>
                  <a:pt x="24" y="40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40" y="24"/>
                  <a:pt x="44" y="28"/>
                  <a:pt x="44" y="3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4E3EA39-F76C-4B12-B110-6120B4E4BB01}"/>
              </a:ext>
            </a:extLst>
          </p:cNvPr>
          <p:cNvSpPr txBox="1"/>
          <p:nvPr/>
        </p:nvSpPr>
        <p:spPr>
          <a:xfrm flipH="1">
            <a:off x="7816821" y="4100519"/>
            <a:ext cx="3023977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 </a:t>
            </a:r>
            <a:r>
              <a:rPr lang="en-US" altLang="zh-CN" sz="1100" dirty="0">
                <a:cs typeface="+mn-ea"/>
                <a:sym typeface="+mn-lt"/>
              </a:rPr>
              <a:t>to retain text……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5FC57E04-9B38-4113-AC4B-63DFD79F1142}"/>
              </a:ext>
            </a:extLst>
          </p:cNvPr>
          <p:cNvSpPr/>
          <p:nvPr/>
        </p:nvSpPr>
        <p:spPr>
          <a:xfrm flipH="1">
            <a:off x="7816821" y="3592688"/>
            <a:ext cx="3023977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06838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69925" y="1847849"/>
            <a:ext cx="6451600" cy="2390321"/>
          </a:xfrm>
        </p:spPr>
        <p:txBody>
          <a:bodyPr>
            <a:noAutofit/>
          </a:bodyPr>
          <a:lstStyle/>
          <a:p>
            <a:r>
              <a:rPr lang="en-US" altLang="zh-CN" sz="11500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nd Your  Slogan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69925" y="4995398"/>
            <a:ext cx="6452274" cy="351529"/>
          </a:xfrm>
        </p:spPr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5" y="4701037"/>
            <a:ext cx="6452274" cy="335020"/>
          </a:xfrm>
        </p:spPr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 and title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直接连接符 5"/>
          <p:cNvCxnSpPr/>
          <p:nvPr/>
        </p:nvCxnSpPr>
        <p:spPr>
          <a:xfrm>
            <a:off x="6050543" y="1466819"/>
            <a:ext cx="0" cy="4330762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/>
          <p:cNvSpPr/>
          <p:nvPr/>
        </p:nvSpPr>
        <p:spPr>
          <a:xfrm>
            <a:off x="0" y="2544810"/>
            <a:ext cx="3684760" cy="1051584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400" b="1">
                <a:solidFill>
                  <a:schemeClr val="accent1"/>
                </a:solidFill>
                <a:cs typeface="+mn-ea"/>
                <a:sym typeface="+mn-lt"/>
              </a:rPr>
              <a:t>目</a:t>
            </a:r>
            <a:r>
              <a:rPr lang="zh-CN" altLang="en-US" sz="100" b="1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sz="2400" b="1">
                <a:solidFill>
                  <a:schemeClr val="accent1"/>
                </a:solidFill>
                <a:cs typeface="+mn-ea"/>
                <a:sym typeface="+mn-lt"/>
              </a:rPr>
              <a:t>录</a:t>
            </a:r>
            <a:br>
              <a:rPr lang="zh-CN" altLang="en-US" sz="2400" b="1" dirty="0">
                <a:solidFill>
                  <a:schemeClr val="accent1"/>
                </a:solidFill>
                <a:cs typeface="+mn-ea"/>
                <a:sym typeface="+mn-lt"/>
              </a:rPr>
            </a:b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CONTENT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60401" y="3596394"/>
            <a:ext cx="3024360" cy="60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Copy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paste </a:t>
            </a:r>
            <a:r>
              <a:rPr lang="en-US" altLang="zh-CN" sz="1000" dirty="0">
                <a:cs typeface="+mn-ea"/>
                <a:sym typeface="+mn-lt"/>
              </a:rPr>
              <a:t>fonts. Choose the only option to retain text……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336145" y="1466819"/>
            <a:ext cx="5182755" cy="532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cs typeface="+mn-ea"/>
                <a:sym typeface="+mn-lt"/>
              </a:rPr>
              <a:t>公众预防病毒措施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336145" y="2416459"/>
            <a:ext cx="5182755" cy="532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cs typeface="+mn-ea"/>
                <a:sym typeface="+mn-lt"/>
              </a:rPr>
              <a:t>经过疫情流行地区预防病毒措施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336145" y="3366099"/>
            <a:ext cx="5182755" cy="532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cs typeface="+mn-ea"/>
                <a:sym typeface="+mn-lt"/>
              </a:rPr>
              <a:t>家庭日常预防病毒措施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336145" y="4315739"/>
            <a:ext cx="5182755" cy="532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cs typeface="+mn-ea"/>
                <a:sym typeface="+mn-lt"/>
              </a:rPr>
              <a:t>公共场所预防病毒措施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128692" y="1466819"/>
            <a:ext cx="921851" cy="532202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1</a:t>
            </a:r>
            <a:endParaRPr lang="id-ID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128692" y="2416459"/>
            <a:ext cx="921851" cy="532202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2</a:t>
            </a:r>
            <a:endParaRPr lang="id-ID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128692" y="3366099"/>
            <a:ext cx="921851" cy="532202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3</a:t>
            </a:r>
            <a:endParaRPr lang="id-ID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128692" y="4315739"/>
            <a:ext cx="921851" cy="532202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4</a:t>
            </a:r>
            <a:endParaRPr lang="id-ID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128692" y="5265379"/>
            <a:ext cx="921851" cy="532202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5</a:t>
            </a:r>
            <a:endParaRPr lang="id-ID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336145" y="5265379"/>
            <a:ext cx="5182755" cy="532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cs typeface="+mn-ea"/>
                <a:sym typeface="+mn-lt"/>
              </a:rPr>
              <a:t>怎样到医院就诊</a:t>
            </a:r>
          </a:p>
        </p:txBody>
      </p:sp>
    </p:spTree>
    <p:extLst>
      <p:ext uri="{BB962C8B-B14F-4D97-AF65-F5344CB8AC3E}">
        <p14:creationId xmlns:p14="http://schemas.microsoft.com/office/powerpoint/2010/main" val="545439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众预防病毒措施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580031" y="348569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众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/>
          <p:cNvSpPr/>
          <p:nvPr/>
        </p:nvSpPr>
        <p:spPr bwMode="auto">
          <a:xfrm>
            <a:off x="5541790" y="2415929"/>
            <a:ext cx="1108421" cy="3730871"/>
          </a:xfrm>
          <a:custGeom>
            <a:avLst/>
            <a:gdLst>
              <a:gd name="T0" fmla="*/ 42 w 84"/>
              <a:gd name="T1" fmla="*/ 0 h 236"/>
              <a:gd name="T2" fmla="*/ 0 w 84"/>
              <a:gd name="T3" fmla="*/ 45 h 236"/>
              <a:gd name="T4" fmla="*/ 26 w 84"/>
              <a:gd name="T5" fmla="*/ 45 h 236"/>
              <a:gd name="T6" fmla="*/ 42 w 84"/>
              <a:gd name="T7" fmla="*/ 236 h 236"/>
              <a:gd name="T8" fmla="*/ 58 w 84"/>
              <a:gd name="T9" fmla="*/ 45 h 236"/>
              <a:gd name="T10" fmla="*/ 84 w 84"/>
              <a:gd name="T11" fmla="*/ 45 h 236"/>
              <a:gd name="T12" fmla="*/ 42 w 84"/>
              <a:gd name="T13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" h="236">
                <a:moveTo>
                  <a:pt x="42" y="0"/>
                </a:moveTo>
                <a:cubicBezTo>
                  <a:pt x="0" y="45"/>
                  <a:pt x="0" y="45"/>
                  <a:pt x="0" y="45"/>
                </a:cubicBezTo>
                <a:cubicBezTo>
                  <a:pt x="26" y="45"/>
                  <a:pt x="26" y="45"/>
                  <a:pt x="26" y="45"/>
                </a:cubicBezTo>
                <a:cubicBezTo>
                  <a:pt x="25" y="85"/>
                  <a:pt x="38" y="202"/>
                  <a:pt x="42" y="236"/>
                </a:cubicBezTo>
                <a:cubicBezTo>
                  <a:pt x="46" y="202"/>
                  <a:pt x="59" y="85"/>
                  <a:pt x="58" y="45"/>
                </a:cubicBezTo>
                <a:cubicBezTo>
                  <a:pt x="84" y="45"/>
                  <a:pt x="84" y="45"/>
                  <a:pt x="84" y="45"/>
                </a:cubicBezTo>
                <a:lnTo>
                  <a:pt x="4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7" name="任意多边形: 形状 6"/>
          <p:cNvSpPr/>
          <p:nvPr/>
        </p:nvSpPr>
        <p:spPr bwMode="auto">
          <a:xfrm flipH="1">
            <a:off x="5871950" y="4264054"/>
            <a:ext cx="2818219" cy="1882746"/>
          </a:xfrm>
          <a:custGeom>
            <a:avLst/>
            <a:gdLst>
              <a:gd name="T0" fmla="*/ 45 w 214"/>
              <a:gd name="T1" fmla="*/ 58 h 143"/>
              <a:gd name="T2" fmla="*/ 195 w 214"/>
              <a:gd name="T3" fmla="*/ 143 h 143"/>
              <a:gd name="T4" fmla="*/ 44 w 214"/>
              <a:gd name="T5" fmla="*/ 26 h 143"/>
              <a:gd name="T6" fmla="*/ 43 w 214"/>
              <a:gd name="T7" fmla="*/ 0 h 143"/>
              <a:gd name="T8" fmla="*/ 0 w 214"/>
              <a:gd name="T9" fmla="*/ 39 h 143"/>
              <a:gd name="T10" fmla="*/ 45 w 214"/>
              <a:gd name="T11" fmla="*/ 84 h 143"/>
              <a:gd name="T12" fmla="*/ 45 w 214"/>
              <a:gd name="T13" fmla="*/ 58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4" h="143">
                <a:moveTo>
                  <a:pt x="45" y="58"/>
                </a:moveTo>
                <a:cubicBezTo>
                  <a:pt x="45" y="58"/>
                  <a:pt x="167" y="48"/>
                  <a:pt x="195" y="143"/>
                </a:cubicBezTo>
                <a:cubicBezTo>
                  <a:pt x="195" y="143"/>
                  <a:pt x="214" y="18"/>
                  <a:pt x="44" y="26"/>
                </a:cubicBezTo>
                <a:cubicBezTo>
                  <a:pt x="43" y="0"/>
                  <a:pt x="43" y="0"/>
                  <a:pt x="43" y="0"/>
                </a:cubicBezTo>
                <a:cubicBezTo>
                  <a:pt x="0" y="39"/>
                  <a:pt x="0" y="39"/>
                  <a:pt x="0" y="39"/>
                </a:cubicBezTo>
                <a:cubicBezTo>
                  <a:pt x="45" y="84"/>
                  <a:pt x="45" y="84"/>
                  <a:pt x="45" y="84"/>
                </a:cubicBezTo>
                <a:lnTo>
                  <a:pt x="45" y="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8" name="任意多边形: 形状 7"/>
          <p:cNvSpPr/>
          <p:nvPr/>
        </p:nvSpPr>
        <p:spPr bwMode="auto">
          <a:xfrm>
            <a:off x="3501831" y="4264054"/>
            <a:ext cx="2818219" cy="1882746"/>
          </a:xfrm>
          <a:custGeom>
            <a:avLst/>
            <a:gdLst>
              <a:gd name="T0" fmla="*/ 45 w 214"/>
              <a:gd name="T1" fmla="*/ 58 h 143"/>
              <a:gd name="T2" fmla="*/ 195 w 214"/>
              <a:gd name="T3" fmla="*/ 143 h 143"/>
              <a:gd name="T4" fmla="*/ 44 w 214"/>
              <a:gd name="T5" fmla="*/ 26 h 143"/>
              <a:gd name="T6" fmla="*/ 43 w 214"/>
              <a:gd name="T7" fmla="*/ 0 h 143"/>
              <a:gd name="T8" fmla="*/ 0 w 214"/>
              <a:gd name="T9" fmla="*/ 39 h 143"/>
              <a:gd name="T10" fmla="*/ 45 w 214"/>
              <a:gd name="T11" fmla="*/ 84 h 143"/>
              <a:gd name="T12" fmla="*/ 45 w 214"/>
              <a:gd name="T13" fmla="*/ 58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4" h="143">
                <a:moveTo>
                  <a:pt x="45" y="58"/>
                </a:moveTo>
                <a:cubicBezTo>
                  <a:pt x="45" y="58"/>
                  <a:pt x="167" y="48"/>
                  <a:pt x="195" y="143"/>
                </a:cubicBezTo>
                <a:cubicBezTo>
                  <a:pt x="195" y="143"/>
                  <a:pt x="214" y="18"/>
                  <a:pt x="44" y="26"/>
                </a:cubicBezTo>
                <a:cubicBezTo>
                  <a:pt x="43" y="0"/>
                  <a:pt x="43" y="0"/>
                  <a:pt x="43" y="0"/>
                </a:cubicBezTo>
                <a:cubicBezTo>
                  <a:pt x="0" y="39"/>
                  <a:pt x="0" y="39"/>
                  <a:pt x="0" y="39"/>
                </a:cubicBezTo>
                <a:cubicBezTo>
                  <a:pt x="45" y="84"/>
                  <a:pt x="45" y="84"/>
                  <a:pt x="45" y="84"/>
                </a:cubicBezTo>
                <a:lnTo>
                  <a:pt x="45" y="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6ECE321-5E78-4FFA-B780-4D44ACDD03FB}"/>
              </a:ext>
            </a:extLst>
          </p:cNvPr>
          <p:cNvSpPr txBox="1"/>
          <p:nvPr/>
        </p:nvSpPr>
        <p:spPr>
          <a:xfrm>
            <a:off x="673100" y="4925770"/>
            <a:ext cx="2751306" cy="760656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o retain text...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B280E69-3524-4B74-BD74-7ABF819863EB}"/>
              </a:ext>
            </a:extLst>
          </p:cNvPr>
          <p:cNvSpPr txBox="1"/>
          <p:nvPr/>
        </p:nvSpPr>
        <p:spPr>
          <a:xfrm>
            <a:off x="673100" y="4453949"/>
            <a:ext cx="2751306" cy="47182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2000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here</a:t>
            </a:r>
            <a:endParaRPr lang="en-US" altLang="zh-CN" sz="2000" b="1" dirty="0"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0A0A1F8-F4F1-42D2-98B2-5AE4F53FD73E}"/>
              </a:ext>
            </a:extLst>
          </p:cNvPr>
          <p:cNvSpPr txBox="1"/>
          <p:nvPr/>
        </p:nvSpPr>
        <p:spPr>
          <a:xfrm>
            <a:off x="8758069" y="4925770"/>
            <a:ext cx="2760831" cy="760656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o retain text...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A32B90A-B906-4421-8DA9-5A6924EC64F1}"/>
              </a:ext>
            </a:extLst>
          </p:cNvPr>
          <p:cNvSpPr txBox="1"/>
          <p:nvPr/>
        </p:nvSpPr>
        <p:spPr>
          <a:xfrm>
            <a:off x="8758069" y="4453949"/>
            <a:ext cx="2760831" cy="471820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2000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here</a:t>
            </a:r>
            <a:endParaRPr lang="en-US" altLang="zh-CN" sz="2000" b="1" dirty="0">
              <a:cs typeface="+mn-ea"/>
              <a:sym typeface="+mn-lt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4643756" y="1263074"/>
            <a:ext cx="2904488" cy="1152855"/>
            <a:chOff x="8546512" y="4453949"/>
            <a:chExt cx="2904488" cy="1152855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F0A0A1F8-F4F1-42D2-98B2-5AE4F53FD73E}"/>
                </a:ext>
              </a:extLst>
            </p:cNvPr>
            <p:cNvSpPr txBox="1"/>
            <p:nvPr/>
          </p:nvSpPr>
          <p:spPr>
            <a:xfrm>
              <a:off x="8546512" y="4925770"/>
              <a:ext cx="2904488" cy="681034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</a:t>
              </a:r>
              <a:r>
                <a:rPr lang="en-US" altLang="zh-CN" sz="1100">
                  <a:cs typeface="+mn-ea"/>
                  <a:sym typeface="+mn-lt"/>
                </a:rPr>
                <a:t>only optio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 </a:t>
              </a:r>
              <a:r>
                <a:rPr lang="en-US" altLang="zh-CN" sz="1100" dirty="0">
                  <a:cs typeface="+mn-ea"/>
                  <a:sym typeface="+mn-lt"/>
                </a:rPr>
                <a:t>to retain text......</a:t>
              </a:r>
              <a:endParaRPr lang="zh-CN" altLang="en-US" sz="1100" dirty="0">
                <a:cs typeface="+mn-ea"/>
                <a:sym typeface="+mn-lt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FA32B90A-B906-4421-8DA9-5A6924EC64F1}"/>
                </a:ext>
              </a:extLst>
            </p:cNvPr>
            <p:cNvSpPr txBox="1"/>
            <p:nvPr/>
          </p:nvSpPr>
          <p:spPr>
            <a:xfrm>
              <a:off x="8546512" y="4453949"/>
              <a:ext cx="2904488" cy="4718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he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0A838853-D6EA-4F30-BDC8-9DACB5FA85A5}"/>
              </a:ext>
            </a:extLst>
          </p:cNvPr>
          <p:cNvSpPr/>
          <p:nvPr/>
        </p:nvSpPr>
        <p:spPr bwMode="auto">
          <a:xfrm>
            <a:off x="3716262" y="4656142"/>
            <a:ext cx="311058" cy="28581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8590A062-16C2-4145-A9B2-184D22002897}"/>
              </a:ext>
            </a:extLst>
          </p:cNvPr>
          <p:cNvSpPr/>
          <p:nvPr/>
        </p:nvSpPr>
        <p:spPr bwMode="auto">
          <a:xfrm>
            <a:off x="5951842" y="2760963"/>
            <a:ext cx="311058" cy="28581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557EABBC-0067-4AEB-8620-92F34326E63D}"/>
              </a:ext>
            </a:extLst>
          </p:cNvPr>
          <p:cNvSpPr/>
          <p:nvPr/>
        </p:nvSpPr>
        <p:spPr bwMode="auto">
          <a:xfrm>
            <a:off x="8165233" y="4660772"/>
            <a:ext cx="300980" cy="276553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499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众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箭头: V 形 5"/>
          <p:cNvSpPr/>
          <p:nvPr/>
        </p:nvSpPr>
        <p:spPr>
          <a:xfrm>
            <a:off x="2252814" y="3180110"/>
            <a:ext cx="1091475" cy="1891890"/>
          </a:xfrm>
          <a:prstGeom prst="chevron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7" name="椭圆 6"/>
          <p:cNvSpPr/>
          <p:nvPr/>
        </p:nvSpPr>
        <p:spPr>
          <a:xfrm>
            <a:off x="2439976" y="3781320"/>
            <a:ext cx="657692" cy="657689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bg1">
                <a:lumMod val="95000"/>
              </a:schemeClr>
            </a:solidFill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/>
          <p:cNvSpPr/>
          <p:nvPr/>
        </p:nvSpPr>
        <p:spPr>
          <a:xfrm>
            <a:off x="2565844" y="3927127"/>
            <a:ext cx="405956" cy="366074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accent1"/>
          </a:solidFill>
          <a:ln w="38100" cap="flat" cmpd="sng">
            <a:noFill/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660400" y="3686175"/>
            <a:ext cx="1696421" cy="1074799"/>
            <a:chOff x="660400" y="2251530"/>
            <a:chExt cx="1696421" cy="1074799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1D4CDB25-6F98-4131-8836-D48A299E62FF}"/>
                </a:ext>
              </a:extLst>
            </p:cNvPr>
            <p:cNvSpPr/>
            <p:nvPr/>
          </p:nvSpPr>
          <p:spPr bwMode="auto">
            <a:xfrm>
              <a:off x="660400" y="2664411"/>
              <a:ext cx="1696421" cy="661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Support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g </a:t>
              </a:r>
              <a:r>
                <a:rPr lang="en-US" altLang="zh-CN" sz="1100" dirty="0">
                  <a:cs typeface="+mn-ea"/>
                  <a:sym typeface="+mn-lt"/>
                </a:rPr>
                <a:t>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957DAD2D-BFEA-41A1-B629-45718F1538A2}"/>
                </a:ext>
              </a:extLst>
            </p:cNvPr>
            <p:cNvSpPr txBox="1"/>
            <p:nvPr/>
          </p:nvSpPr>
          <p:spPr bwMode="auto">
            <a:xfrm>
              <a:off x="660400" y="2251530"/>
              <a:ext cx="1696421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ex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t </a:t>
              </a:r>
              <a:r>
                <a:rPr lang="en-US" altLang="zh-CN" sz="1800" b="1" dirty="0">
                  <a:cs typeface="+mn-ea"/>
                  <a:sym typeface="+mn-lt"/>
                </a:rPr>
                <a:t>here</a:t>
              </a:r>
            </a:p>
          </p:txBody>
        </p:sp>
      </p:grpSp>
      <p:sp>
        <p:nvSpPr>
          <p:cNvPr id="10" name="箭头: V 形 9"/>
          <p:cNvSpPr/>
          <p:nvPr/>
        </p:nvSpPr>
        <p:spPr>
          <a:xfrm>
            <a:off x="4977684" y="3180110"/>
            <a:ext cx="1091475" cy="1891890"/>
          </a:xfrm>
          <a:prstGeom prst="chevron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5122280" y="3781320"/>
            <a:ext cx="657692" cy="657689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bg1">
                <a:lumMod val="95000"/>
              </a:schemeClr>
            </a:solidFill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/>
          <a:p>
            <a:pPr algn="ctr">
              <a:buSzPct val="25000"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2" name="任意多边形: 形状 11"/>
          <p:cNvSpPr/>
          <p:nvPr/>
        </p:nvSpPr>
        <p:spPr>
          <a:xfrm>
            <a:off x="5223218" y="3941556"/>
            <a:ext cx="455816" cy="337216"/>
          </a:xfrm>
          <a:custGeom>
            <a:avLst/>
            <a:gdLst>
              <a:gd name="T0" fmla="*/ 278945 h 440259"/>
              <a:gd name="T1" fmla="*/ 278945 h 440259"/>
              <a:gd name="T2" fmla="*/ 278945 h 440259"/>
              <a:gd name="T3" fmla="*/ 278945 h 440259"/>
              <a:gd name="T4" fmla="*/ 278945 h 440259"/>
              <a:gd name="T5" fmla="*/ 278945 h 440259"/>
              <a:gd name="T6" fmla="*/ 278945 h 440259"/>
              <a:gd name="T7" fmla="*/ 278945 h 440259"/>
              <a:gd name="T8" fmla="*/ 278945 h 440259"/>
              <a:gd name="T9" fmla="*/ 278945 h 440259"/>
              <a:gd name="T10" fmla="*/ 278945 h 440259"/>
              <a:gd name="T11" fmla="*/ 278945 h 440259"/>
              <a:gd name="T12" fmla="*/ 278945 h 440259"/>
              <a:gd name="T13" fmla="*/ 278945 h 440259"/>
              <a:gd name="T14" fmla="*/ 278945 h 440259"/>
              <a:gd name="T15" fmla="*/ 278945 h 440259"/>
              <a:gd name="T16" fmla="*/ 278945 h 440259"/>
              <a:gd name="T17" fmla="*/ 278945 h 440259"/>
              <a:gd name="T18" fmla="*/ 278945 h 440259"/>
              <a:gd name="T19" fmla="*/ 278945 h 440259"/>
              <a:gd name="T20" fmla="*/ 278945 h 440259"/>
              <a:gd name="T21" fmla="*/ 278945 h 440259"/>
              <a:gd name="T22" fmla="*/ 278945 h 440259"/>
              <a:gd name="T23" fmla="*/ 278945 h 440259"/>
              <a:gd name="T24" fmla="*/ 278945 h 440259"/>
              <a:gd name="T25" fmla="*/ 278945 h 440259"/>
              <a:gd name="T26" fmla="*/ 278945 h 440259"/>
              <a:gd name="T27" fmla="*/ 278945 h 440259"/>
              <a:gd name="T28" fmla="*/ 278945 h 440259"/>
              <a:gd name="T29" fmla="*/ 278945 h 440259"/>
              <a:gd name="T30" fmla="*/ 88862 h 440259"/>
              <a:gd name="T31" fmla="*/ 88862 h 440259"/>
              <a:gd name="T32" fmla="*/ 278945 h 440259"/>
              <a:gd name="T33" fmla="*/ 278945 h 440259"/>
              <a:gd name="T34" fmla="*/ 278945 h 440259"/>
              <a:gd name="T35" fmla="*/ 278945 h 440259"/>
              <a:gd name="T36" fmla="*/ 278945 h 440259"/>
              <a:gd name="T37" fmla="*/ 278945 h 440259"/>
              <a:gd name="T38" fmla="*/ 278945 h 440259"/>
              <a:gd name="T39" fmla="*/ 278945 h 440259"/>
              <a:gd name="T40" fmla="*/ 278945 h 440259"/>
              <a:gd name="T41" fmla="*/ 278945 h 440259"/>
              <a:gd name="T42" fmla="*/ 278945 h 440259"/>
              <a:gd name="T43" fmla="*/ 278945 h 440259"/>
              <a:gd name="T44" fmla="*/ 278945 h 440259"/>
              <a:gd name="T45" fmla="*/ 278945 h 440259"/>
              <a:gd name="T46" fmla="*/ 278945 h 440259"/>
              <a:gd name="T47" fmla="*/ 278945 h 440259"/>
              <a:gd name="T48" fmla="*/ 278945 h 440259"/>
              <a:gd name="T49" fmla="*/ 278945 h 440259"/>
              <a:gd name="T50" fmla="*/ 278945 h 440259"/>
              <a:gd name="T51" fmla="*/ 278945 h 440259"/>
              <a:gd name="T52" fmla="*/ 278945 h 440259"/>
              <a:gd name="T53" fmla="*/ 278945 h 440259"/>
              <a:gd name="T54" fmla="*/ 278945 h 440259"/>
              <a:gd name="T55" fmla="*/ 278945 h 440259"/>
              <a:gd name="T56" fmla="*/ 278945 h 440259"/>
              <a:gd name="T57" fmla="*/ 278945 h 440259"/>
              <a:gd name="T58" fmla="*/ 278945 h 440259"/>
              <a:gd name="T59" fmla="*/ 278945 h 440259"/>
              <a:gd name="T60" fmla="*/ 278945 h 440259"/>
              <a:gd name="T61" fmla="*/ 278945 h 440259"/>
              <a:gd name="T62" fmla="*/ 278945 h 440259"/>
              <a:gd name="T63" fmla="*/ 278945 h 440259"/>
              <a:gd name="T64" fmla="*/ 278945 h 440259"/>
              <a:gd name="T65" fmla="*/ 278945 h 440259"/>
              <a:gd name="T66" fmla="*/ 278945 h 440259"/>
              <a:gd name="T67" fmla="*/ 278945 h 440259"/>
              <a:gd name="T68" fmla="*/ 278945 h 440259"/>
              <a:gd name="T69" fmla="*/ 278945 h 440259"/>
              <a:gd name="T70" fmla="*/ 278945 h 440259"/>
              <a:gd name="T71" fmla="*/ 278945 h 440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08" h="4896">
                <a:moveTo>
                  <a:pt x="6608" y="638"/>
                </a:moveTo>
                <a:lnTo>
                  <a:pt x="6608" y="2638"/>
                </a:lnTo>
                <a:cubicBezTo>
                  <a:pt x="6608" y="2638"/>
                  <a:pt x="6180" y="2723"/>
                  <a:pt x="6092" y="2734"/>
                </a:cubicBezTo>
                <a:cubicBezTo>
                  <a:pt x="6004" y="2745"/>
                  <a:pt x="5728" y="2834"/>
                  <a:pt x="5528" y="2642"/>
                </a:cubicBezTo>
                <a:cubicBezTo>
                  <a:pt x="5219" y="2346"/>
                  <a:pt x="4122" y="1254"/>
                  <a:pt x="4122" y="1254"/>
                </a:cubicBezTo>
                <a:cubicBezTo>
                  <a:pt x="4122" y="1254"/>
                  <a:pt x="3932" y="1069"/>
                  <a:pt x="3629" y="1229"/>
                </a:cubicBezTo>
                <a:cubicBezTo>
                  <a:pt x="3350" y="1376"/>
                  <a:pt x="2936" y="1592"/>
                  <a:pt x="2764" y="1675"/>
                </a:cubicBezTo>
                <a:cubicBezTo>
                  <a:pt x="2437" y="1849"/>
                  <a:pt x="2167" y="1574"/>
                  <a:pt x="2167" y="1364"/>
                </a:cubicBezTo>
                <a:cubicBezTo>
                  <a:pt x="2167" y="1201"/>
                  <a:pt x="2269" y="1090"/>
                  <a:pt x="2414" y="1009"/>
                </a:cubicBezTo>
                <a:cubicBezTo>
                  <a:pt x="2808" y="770"/>
                  <a:pt x="3637" y="305"/>
                  <a:pt x="3983" y="121"/>
                </a:cubicBezTo>
                <a:cubicBezTo>
                  <a:pt x="4193" y="9"/>
                  <a:pt x="4344" y="0"/>
                  <a:pt x="4633" y="243"/>
                </a:cubicBezTo>
                <a:cubicBezTo>
                  <a:pt x="4988" y="541"/>
                  <a:pt x="5304" y="814"/>
                  <a:pt x="5304" y="814"/>
                </a:cubicBezTo>
                <a:cubicBezTo>
                  <a:pt x="5304" y="814"/>
                  <a:pt x="5407" y="900"/>
                  <a:pt x="5571" y="865"/>
                </a:cubicBezTo>
                <a:cubicBezTo>
                  <a:pt x="5975" y="780"/>
                  <a:pt x="6608" y="638"/>
                  <a:pt x="6608" y="638"/>
                </a:cubicBezTo>
                <a:close/>
                <a:moveTo>
                  <a:pt x="2241" y="4027"/>
                </a:moveTo>
                <a:cubicBezTo>
                  <a:pt x="2294" y="3891"/>
                  <a:pt x="2277" y="3738"/>
                  <a:pt x="2175" y="3633"/>
                </a:cubicBezTo>
                <a:cubicBezTo>
                  <a:pt x="2083" y="3540"/>
                  <a:pt x="1950" y="3515"/>
                  <a:pt x="1822" y="3544"/>
                </a:cubicBezTo>
                <a:cubicBezTo>
                  <a:pt x="1858" y="3418"/>
                  <a:pt x="1838" y="3283"/>
                  <a:pt x="1746" y="3188"/>
                </a:cubicBezTo>
                <a:cubicBezTo>
                  <a:pt x="1654" y="3095"/>
                  <a:pt x="1521" y="3070"/>
                  <a:pt x="1394" y="3099"/>
                </a:cubicBezTo>
                <a:cubicBezTo>
                  <a:pt x="1429" y="2973"/>
                  <a:pt x="1409" y="2838"/>
                  <a:pt x="1317" y="2744"/>
                </a:cubicBezTo>
                <a:cubicBezTo>
                  <a:pt x="1173" y="2596"/>
                  <a:pt x="924" y="2602"/>
                  <a:pt x="760" y="2758"/>
                </a:cubicBezTo>
                <a:cubicBezTo>
                  <a:pt x="597" y="2915"/>
                  <a:pt x="492" y="3198"/>
                  <a:pt x="638" y="3365"/>
                </a:cubicBezTo>
                <a:cubicBezTo>
                  <a:pt x="783" y="3531"/>
                  <a:pt x="950" y="3430"/>
                  <a:pt x="1077" y="3401"/>
                </a:cubicBezTo>
                <a:cubicBezTo>
                  <a:pt x="1042" y="3527"/>
                  <a:pt x="936" y="3645"/>
                  <a:pt x="1066" y="3810"/>
                </a:cubicBezTo>
                <a:cubicBezTo>
                  <a:pt x="1197" y="3975"/>
                  <a:pt x="1378" y="3875"/>
                  <a:pt x="1506" y="3846"/>
                </a:cubicBezTo>
                <a:cubicBezTo>
                  <a:pt x="1470" y="3972"/>
                  <a:pt x="1369" y="4101"/>
                  <a:pt x="1494" y="4254"/>
                </a:cubicBezTo>
                <a:cubicBezTo>
                  <a:pt x="1621" y="4408"/>
                  <a:pt x="1829" y="4326"/>
                  <a:pt x="1966" y="4283"/>
                </a:cubicBezTo>
                <a:cubicBezTo>
                  <a:pt x="1913" y="4419"/>
                  <a:pt x="1799" y="4566"/>
                  <a:pt x="1945" y="4730"/>
                </a:cubicBezTo>
                <a:cubicBezTo>
                  <a:pt x="2090" y="4896"/>
                  <a:pt x="2426" y="4819"/>
                  <a:pt x="2590" y="4663"/>
                </a:cubicBezTo>
                <a:cubicBezTo>
                  <a:pt x="2753" y="4506"/>
                  <a:pt x="2769" y="4258"/>
                  <a:pt x="2625" y="4110"/>
                </a:cubicBezTo>
                <a:cubicBezTo>
                  <a:pt x="2526" y="4008"/>
                  <a:pt x="2378" y="3985"/>
                  <a:pt x="2241" y="4027"/>
                </a:cubicBezTo>
                <a:close/>
                <a:moveTo>
                  <a:pt x="5233" y="2987"/>
                </a:moveTo>
                <a:cubicBezTo>
                  <a:pt x="4047" y="1802"/>
                  <a:pt x="4605" y="2359"/>
                  <a:pt x="3967" y="1720"/>
                </a:cubicBezTo>
                <a:cubicBezTo>
                  <a:pt x="3967" y="1720"/>
                  <a:pt x="3775" y="1529"/>
                  <a:pt x="3523" y="1640"/>
                </a:cubicBezTo>
                <a:cubicBezTo>
                  <a:pt x="3346" y="1718"/>
                  <a:pt x="3117" y="1824"/>
                  <a:pt x="2945" y="1905"/>
                </a:cubicBezTo>
                <a:cubicBezTo>
                  <a:pt x="2757" y="2004"/>
                  <a:pt x="2621" y="2034"/>
                  <a:pt x="2557" y="2034"/>
                </a:cubicBezTo>
                <a:cubicBezTo>
                  <a:pt x="2192" y="2031"/>
                  <a:pt x="1896" y="1738"/>
                  <a:pt x="1896" y="1373"/>
                </a:cubicBezTo>
                <a:cubicBezTo>
                  <a:pt x="1896" y="1137"/>
                  <a:pt x="2022" y="931"/>
                  <a:pt x="2209" y="814"/>
                </a:cubicBezTo>
                <a:cubicBezTo>
                  <a:pt x="2472" y="632"/>
                  <a:pt x="3078" y="310"/>
                  <a:pt x="3078" y="310"/>
                </a:cubicBezTo>
                <a:cubicBezTo>
                  <a:pt x="3078" y="310"/>
                  <a:pt x="2894" y="76"/>
                  <a:pt x="2489" y="76"/>
                </a:cubicBezTo>
                <a:cubicBezTo>
                  <a:pt x="2085" y="76"/>
                  <a:pt x="1240" y="629"/>
                  <a:pt x="1240" y="629"/>
                </a:cubicBezTo>
                <a:cubicBezTo>
                  <a:pt x="1240" y="629"/>
                  <a:pt x="1000" y="783"/>
                  <a:pt x="659" y="644"/>
                </a:cubicBezTo>
                <a:lnTo>
                  <a:pt x="0" y="415"/>
                </a:lnTo>
                <a:lnTo>
                  <a:pt x="0" y="2704"/>
                </a:lnTo>
                <a:cubicBezTo>
                  <a:pt x="0" y="2704"/>
                  <a:pt x="188" y="2758"/>
                  <a:pt x="357" y="2827"/>
                </a:cubicBezTo>
                <a:cubicBezTo>
                  <a:pt x="395" y="2719"/>
                  <a:pt x="457" y="2618"/>
                  <a:pt x="542" y="2535"/>
                </a:cubicBezTo>
                <a:cubicBezTo>
                  <a:pt x="822" y="2268"/>
                  <a:pt x="1287" y="2265"/>
                  <a:pt x="1542" y="2528"/>
                </a:cubicBezTo>
                <a:cubicBezTo>
                  <a:pt x="1619" y="2608"/>
                  <a:pt x="1673" y="2703"/>
                  <a:pt x="1700" y="2808"/>
                </a:cubicBezTo>
                <a:cubicBezTo>
                  <a:pt x="1803" y="2840"/>
                  <a:pt x="1896" y="2896"/>
                  <a:pt x="1971" y="2973"/>
                </a:cubicBezTo>
                <a:cubicBezTo>
                  <a:pt x="2048" y="3053"/>
                  <a:pt x="2101" y="3148"/>
                  <a:pt x="2129" y="3253"/>
                </a:cubicBezTo>
                <a:cubicBezTo>
                  <a:pt x="2231" y="3285"/>
                  <a:pt x="2324" y="3341"/>
                  <a:pt x="2399" y="3418"/>
                </a:cubicBezTo>
                <a:cubicBezTo>
                  <a:pt x="2484" y="3505"/>
                  <a:pt x="2540" y="3611"/>
                  <a:pt x="2566" y="3725"/>
                </a:cubicBezTo>
                <a:cubicBezTo>
                  <a:pt x="2674" y="3756"/>
                  <a:pt x="2771" y="3814"/>
                  <a:pt x="2849" y="3894"/>
                </a:cubicBezTo>
                <a:cubicBezTo>
                  <a:pt x="3002" y="4051"/>
                  <a:pt x="3056" y="4265"/>
                  <a:pt x="3023" y="4471"/>
                </a:cubicBezTo>
                <a:cubicBezTo>
                  <a:pt x="3024" y="4471"/>
                  <a:pt x="3024" y="4471"/>
                  <a:pt x="3024" y="4472"/>
                </a:cubicBezTo>
                <a:cubicBezTo>
                  <a:pt x="3027" y="4475"/>
                  <a:pt x="3119" y="4578"/>
                  <a:pt x="3177" y="4636"/>
                </a:cubicBezTo>
                <a:cubicBezTo>
                  <a:pt x="3290" y="4749"/>
                  <a:pt x="3475" y="4749"/>
                  <a:pt x="3588" y="4636"/>
                </a:cubicBezTo>
                <a:cubicBezTo>
                  <a:pt x="3700" y="4523"/>
                  <a:pt x="3701" y="4339"/>
                  <a:pt x="3588" y="4225"/>
                </a:cubicBezTo>
                <a:cubicBezTo>
                  <a:pt x="3584" y="4221"/>
                  <a:pt x="3180" y="3799"/>
                  <a:pt x="3213" y="3766"/>
                </a:cubicBezTo>
                <a:cubicBezTo>
                  <a:pt x="3245" y="3734"/>
                  <a:pt x="3759" y="4269"/>
                  <a:pt x="3769" y="4279"/>
                </a:cubicBezTo>
                <a:cubicBezTo>
                  <a:pt x="3882" y="4391"/>
                  <a:pt x="4066" y="4391"/>
                  <a:pt x="4179" y="4279"/>
                </a:cubicBezTo>
                <a:cubicBezTo>
                  <a:pt x="4292" y="4166"/>
                  <a:pt x="4292" y="3981"/>
                  <a:pt x="4179" y="3868"/>
                </a:cubicBezTo>
                <a:cubicBezTo>
                  <a:pt x="4174" y="3863"/>
                  <a:pt x="4151" y="3841"/>
                  <a:pt x="4142" y="3832"/>
                </a:cubicBezTo>
                <a:cubicBezTo>
                  <a:pt x="4142" y="3832"/>
                  <a:pt x="3632" y="3378"/>
                  <a:pt x="3671" y="3339"/>
                </a:cubicBezTo>
                <a:cubicBezTo>
                  <a:pt x="3710" y="3300"/>
                  <a:pt x="4343" y="3891"/>
                  <a:pt x="4345" y="3891"/>
                </a:cubicBezTo>
                <a:cubicBezTo>
                  <a:pt x="4458" y="3993"/>
                  <a:pt x="4634" y="3992"/>
                  <a:pt x="4743" y="3883"/>
                </a:cubicBezTo>
                <a:cubicBezTo>
                  <a:pt x="4850" y="3776"/>
                  <a:pt x="4852" y="3608"/>
                  <a:pt x="4758" y="3494"/>
                </a:cubicBezTo>
                <a:cubicBezTo>
                  <a:pt x="4756" y="3488"/>
                  <a:pt x="4275" y="2986"/>
                  <a:pt x="4312" y="2948"/>
                </a:cubicBezTo>
                <a:cubicBezTo>
                  <a:pt x="4351" y="2910"/>
                  <a:pt x="4826" y="3400"/>
                  <a:pt x="4827" y="3401"/>
                </a:cubicBezTo>
                <a:cubicBezTo>
                  <a:pt x="4940" y="3513"/>
                  <a:pt x="5124" y="3513"/>
                  <a:pt x="5238" y="3401"/>
                </a:cubicBezTo>
                <a:cubicBezTo>
                  <a:pt x="5350" y="3288"/>
                  <a:pt x="5350" y="3103"/>
                  <a:pt x="5238" y="2990"/>
                </a:cubicBezTo>
                <a:cubicBezTo>
                  <a:pt x="5236" y="2989"/>
                  <a:pt x="5234" y="2988"/>
                  <a:pt x="5233" y="298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8100" cap="flat" cmpd="sng">
            <a:noFill/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3281263" y="3686175"/>
            <a:ext cx="1696421" cy="1074799"/>
            <a:chOff x="3353814" y="2269086"/>
            <a:chExt cx="1696421" cy="1074799"/>
          </a:xfrm>
        </p:grpSpPr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1D4CDB25-6F98-4131-8836-D48A299E62FF}"/>
                </a:ext>
              </a:extLst>
            </p:cNvPr>
            <p:cNvSpPr/>
            <p:nvPr/>
          </p:nvSpPr>
          <p:spPr bwMode="auto">
            <a:xfrm>
              <a:off x="3353814" y="2681967"/>
              <a:ext cx="1696421" cy="661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Support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g </a:t>
              </a:r>
              <a:r>
                <a:rPr lang="en-US" altLang="zh-CN" sz="1100" dirty="0">
                  <a:cs typeface="+mn-ea"/>
                  <a:sym typeface="+mn-lt"/>
                </a:rPr>
                <a:t>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957DAD2D-BFEA-41A1-B629-45718F1538A2}"/>
                </a:ext>
              </a:extLst>
            </p:cNvPr>
            <p:cNvSpPr txBox="1"/>
            <p:nvPr/>
          </p:nvSpPr>
          <p:spPr bwMode="auto">
            <a:xfrm>
              <a:off x="3353814" y="2269086"/>
              <a:ext cx="1696421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ex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t </a:t>
              </a:r>
              <a:r>
                <a:rPr lang="en-US" altLang="zh-CN" sz="1800" b="1" dirty="0">
                  <a:cs typeface="+mn-ea"/>
                  <a:sym typeface="+mn-lt"/>
                </a:rPr>
                <a:t>here</a:t>
              </a:r>
            </a:p>
          </p:txBody>
        </p:sp>
      </p:grpSp>
      <p:sp>
        <p:nvSpPr>
          <p:cNvPr id="14" name="箭头: V 形 13"/>
          <p:cNvSpPr/>
          <p:nvPr/>
        </p:nvSpPr>
        <p:spPr>
          <a:xfrm>
            <a:off x="10427425" y="3180110"/>
            <a:ext cx="1091475" cy="1891890"/>
          </a:xfrm>
          <a:prstGeom prst="chevron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rgbClr val="FFC000"/>
              </a:solidFill>
              <a:cs typeface="+mn-ea"/>
              <a:sym typeface="+mn-lt"/>
            </a:endParaRPr>
          </a:p>
        </p:txBody>
      </p:sp>
      <p:sp>
        <p:nvSpPr>
          <p:cNvPr id="15" name="椭圆 14"/>
          <p:cNvSpPr/>
          <p:nvPr/>
        </p:nvSpPr>
        <p:spPr>
          <a:xfrm>
            <a:off x="10642914" y="3781320"/>
            <a:ext cx="657692" cy="657689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bg1">
                <a:lumMod val="95000"/>
              </a:schemeClr>
            </a:solidFill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/>
          <a:p>
            <a:pPr algn="ctr">
              <a:buSzPct val="25000"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6" name="任意多边形: 形状 15"/>
          <p:cNvSpPr/>
          <p:nvPr/>
        </p:nvSpPr>
        <p:spPr>
          <a:xfrm>
            <a:off x="10763921" y="3881457"/>
            <a:ext cx="415678" cy="457414"/>
          </a:xfrm>
          <a:custGeom>
            <a:avLst/>
            <a:gdLst>
              <a:gd name="T0" fmla="*/ 462 w 473"/>
              <a:gd name="T1" fmla="*/ 99 h 521"/>
              <a:gd name="T2" fmla="*/ 442 w 473"/>
              <a:gd name="T3" fmla="*/ 82 h 521"/>
              <a:gd name="T4" fmla="*/ 345 w 473"/>
              <a:gd name="T5" fmla="*/ 130 h 521"/>
              <a:gd name="T6" fmla="*/ 379 w 473"/>
              <a:gd name="T7" fmla="*/ 27 h 521"/>
              <a:gd name="T8" fmla="*/ 359 w 473"/>
              <a:gd name="T9" fmla="*/ 10 h 521"/>
              <a:gd name="T10" fmla="*/ 290 w 473"/>
              <a:gd name="T11" fmla="*/ 49 h 521"/>
              <a:gd name="T12" fmla="*/ 242 w 473"/>
              <a:gd name="T13" fmla="*/ 105 h 521"/>
              <a:gd name="T14" fmla="*/ 249 w 473"/>
              <a:gd name="T15" fmla="*/ 209 h 521"/>
              <a:gd name="T16" fmla="*/ 234 w 473"/>
              <a:gd name="T17" fmla="*/ 225 h 521"/>
              <a:gd name="T18" fmla="*/ 132 w 473"/>
              <a:gd name="T19" fmla="*/ 91 h 521"/>
              <a:gd name="T20" fmla="*/ 138 w 473"/>
              <a:gd name="T21" fmla="*/ 58 h 521"/>
              <a:gd name="T22" fmla="*/ 73 w 473"/>
              <a:gd name="T23" fmla="*/ 31 h 521"/>
              <a:gd name="T24" fmla="*/ 50 w 473"/>
              <a:gd name="T25" fmla="*/ 51 h 521"/>
              <a:gd name="T26" fmla="*/ 57 w 473"/>
              <a:gd name="T27" fmla="*/ 115 h 521"/>
              <a:gd name="T28" fmla="*/ 96 w 473"/>
              <a:gd name="T29" fmla="*/ 120 h 521"/>
              <a:gd name="T30" fmla="*/ 194 w 473"/>
              <a:gd name="T31" fmla="*/ 249 h 521"/>
              <a:gd name="T32" fmla="*/ 153 w 473"/>
              <a:gd name="T33" fmla="*/ 262 h 521"/>
              <a:gd name="T34" fmla="*/ 0 w 473"/>
              <a:gd name="T35" fmla="*/ 440 h 521"/>
              <a:gd name="T36" fmla="*/ 58 w 473"/>
              <a:gd name="T37" fmla="*/ 490 h 521"/>
              <a:gd name="T38" fmla="*/ 117 w 473"/>
              <a:gd name="T39" fmla="*/ 486 h 521"/>
              <a:gd name="T40" fmla="*/ 253 w 473"/>
              <a:gd name="T41" fmla="*/ 327 h 521"/>
              <a:gd name="T42" fmla="*/ 287 w 473"/>
              <a:gd name="T43" fmla="*/ 372 h 521"/>
              <a:gd name="T44" fmla="*/ 288 w 473"/>
              <a:gd name="T45" fmla="*/ 423 h 521"/>
              <a:gd name="T46" fmla="*/ 362 w 473"/>
              <a:gd name="T47" fmla="*/ 521 h 521"/>
              <a:gd name="T48" fmla="*/ 417 w 473"/>
              <a:gd name="T49" fmla="*/ 480 h 521"/>
              <a:gd name="T50" fmla="*/ 416 w 473"/>
              <a:gd name="T51" fmla="*/ 429 h 521"/>
              <a:gd name="T52" fmla="*/ 342 w 473"/>
              <a:gd name="T53" fmla="*/ 330 h 521"/>
              <a:gd name="T54" fmla="*/ 324 w 473"/>
              <a:gd name="T55" fmla="*/ 343 h 521"/>
              <a:gd name="T56" fmla="*/ 261 w 473"/>
              <a:gd name="T57" fmla="*/ 261 h 521"/>
              <a:gd name="T58" fmla="*/ 281 w 473"/>
              <a:gd name="T59" fmla="*/ 237 h 521"/>
              <a:gd name="T60" fmla="*/ 385 w 473"/>
              <a:gd name="T61" fmla="*/ 229 h 521"/>
              <a:gd name="T62" fmla="*/ 434 w 473"/>
              <a:gd name="T63" fmla="*/ 172 h 521"/>
              <a:gd name="T64" fmla="*/ 462 w 473"/>
              <a:gd name="T65" fmla="*/ 99 h 521"/>
              <a:gd name="T66" fmla="*/ 109 w 473"/>
              <a:gd name="T67" fmla="*/ 443 h 521"/>
              <a:gd name="T68" fmla="*/ 73 w 473"/>
              <a:gd name="T69" fmla="*/ 446 h 521"/>
              <a:gd name="T70" fmla="*/ 70 w 473"/>
              <a:gd name="T71" fmla="*/ 410 h 521"/>
              <a:gd name="T72" fmla="*/ 106 w 473"/>
              <a:gd name="T73" fmla="*/ 407 h 521"/>
              <a:gd name="T74" fmla="*/ 109 w 473"/>
              <a:gd name="T75" fmla="*/ 443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3" h="521">
                <a:moveTo>
                  <a:pt x="462" y="99"/>
                </a:moveTo>
                <a:lnTo>
                  <a:pt x="442" y="82"/>
                </a:lnTo>
                <a:cubicBezTo>
                  <a:pt x="400" y="121"/>
                  <a:pt x="382" y="162"/>
                  <a:pt x="345" y="130"/>
                </a:cubicBezTo>
                <a:cubicBezTo>
                  <a:pt x="308" y="98"/>
                  <a:pt x="346" y="75"/>
                  <a:pt x="379" y="27"/>
                </a:cubicBezTo>
                <a:cubicBezTo>
                  <a:pt x="379" y="27"/>
                  <a:pt x="370" y="19"/>
                  <a:pt x="359" y="10"/>
                </a:cubicBezTo>
                <a:cubicBezTo>
                  <a:pt x="348" y="0"/>
                  <a:pt x="317" y="18"/>
                  <a:pt x="290" y="49"/>
                </a:cubicBezTo>
                <a:lnTo>
                  <a:pt x="242" y="105"/>
                </a:lnTo>
                <a:cubicBezTo>
                  <a:pt x="215" y="136"/>
                  <a:pt x="218" y="182"/>
                  <a:pt x="249" y="209"/>
                </a:cubicBezTo>
                <a:lnTo>
                  <a:pt x="234" y="225"/>
                </a:lnTo>
                <a:lnTo>
                  <a:pt x="132" y="91"/>
                </a:lnTo>
                <a:cubicBezTo>
                  <a:pt x="137" y="79"/>
                  <a:pt x="150" y="67"/>
                  <a:pt x="138" y="58"/>
                </a:cubicBezTo>
                <a:lnTo>
                  <a:pt x="73" y="31"/>
                </a:lnTo>
                <a:lnTo>
                  <a:pt x="50" y="51"/>
                </a:lnTo>
                <a:cubicBezTo>
                  <a:pt x="50" y="51"/>
                  <a:pt x="57" y="115"/>
                  <a:pt x="57" y="115"/>
                </a:cubicBezTo>
                <a:cubicBezTo>
                  <a:pt x="63" y="131"/>
                  <a:pt x="82" y="125"/>
                  <a:pt x="96" y="120"/>
                </a:cubicBezTo>
                <a:lnTo>
                  <a:pt x="194" y="249"/>
                </a:lnTo>
                <a:cubicBezTo>
                  <a:pt x="179" y="246"/>
                  <a:pt x="164" y="250"/>
                  <a:pt x="153" y="262"/>
                </a:cubicBezTo>
                <a:lnTo>
                  <a:pt x="0" y="440"/>
                </a:lnTo>
                <a:lnTo>
                  <a:pt x="58" y="490"/>
                </a:lnTo>
                <a:cubicBezTo>
                  <a:pt x="75" y="505"/>
                  <a:pt x="102" y="503"/>
                  <a:pt x="117" y="486"/>
                </a:cubicBezTo>
                <a:lnTo>
                  <a:pt x="253" y="327"/>
                </a:lnTo>
                <a:lnTo>
                  <a:pt x="287" y="372"/>
                </a:lnTo>
                <a:cubicBezTo>
                  <a:pt x="271" y="386"/>
                  <a:pt x="274" y="405"/>
                  <a:pt x="288" y="423"/>
                </a:cubicBezTo>
                <a:lnTo>
                  <a:pt x="362" y="521"/>
                </a:lnTo>
                <a:lnTo>
                  <a:pt x="417" y="480"/>
                </a:lnTo>
                <a:cubicBezTo>
                  <a:pt x="435" y="466"/>
                  <a:pt x="430" y="447"/>
                  <a:pt x="416" y="429"/>
                </a:cubicBezTo>
                <a:lnTo>
                  <a:pt x="342" y="330"/>
                </a:lnTo>
                <a:lnTo>
                  <a:pt x="324" y="343"/>
                </a:lnTo>
                <a:lnTo>
                  <a:pt x="261" y="261"/>
                </a:lnTo>
                <a:lnTo>
                  <a:pt x="281" y="237"/>
                </a:lnTo>
                <a:cubicBezTo>
                  <a:pt x="313" y="263"/>
                  <a:pt x="359" y="259"/>
                  <a:pt x="385" y="229"/>
                </a:cubicBezTo>
                <a:lnTo>
                  <a:pt x="434" y="172"/>
                </a:lnTo>
                <a:cubicBezTo>
                  <a:pt x="461" y="141"/>
                  <a:pt x="473" y="108"/>
                  <a:pt x="462" y="99"/>
                </a:cubicBezTo>
                <a:close/>
                <a:moveTo>
                  <a:pt x="109" y="443"/>
                </a:moveTo>
                <a:cubicBezTo>
                  <a:pt x="100" y="454"/>
                  <a:pt x="84" y="455"/>
                  <a:pt x="73" y="446"/>
                </a:cubicBezTo>
                <a:cubicBezTo>
                  <a:pt x="62" y="437"/>
                  <a:pt x="61" y="420"/>
                  <a:pt x="70" y="410"/>
                </a:cubicBezTo>
                <a:cubicBezTo>
                  <a:pt x="80" y="399"/>
                  <a:pt x="96" y="398"/>
                  <a:pt x="106" y="407"/>
                </a:cubicBezTo>
                <a:cubicBezTo>
                  <a:pt x="117" y="416"/>
                  <a:pt x="118" y="432"/>
                  <a:pt x="109" y="44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8100" cap="flat" cmpd="sng">
            <a:noFill/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8731004" y="3686175"/>
            <a:ext cx="1696421" cy="1074799"/>
            <a:chOff x="8740642" y="2290843"/>
            <a:chExt cx="1696421" cy="1074799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1D4CDB25-6F98-4131-8836-D48A299E62FF}"/>
                </a:ext>
              </a:extLst>
            </p:cNvPr>
            <p:cNvSpPr/>
            <p:nvPr/>
          </p:nvSpPr>
          <p:spPr bwMode="auto">
            <a:xfrm>
              <a:off x="8740642" y="2703724"/>
              <a:ext cx="1696421" cy="661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Supporti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ng </a:t>
              </a:r>
              <a:r>
                <a:rPr lang="en-US" altLang="zh-CN" sz="1100" dirty="0">
                  <a:cs typeface="+mn-ea"/>
                  <a:sym typeface="+mn-lt"/>
                </a:rPr>
                <a:t>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957DAD2D-BFEA-41A1-B629-45718F1538A2}"/>
                </a:ext>
              </a:extLst>
            </p:cNvPr>
            <p:cNvSpPr txBox="1"/>
            <p:nvPr/>
          </p:nvSpPr>
          <p:spPr bwMode="auto">
            <a:xfrm>
              <a:off x="8740642" y="2290843"/>
              <a:ext cx="1696421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here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</p:grpSp>
      <p:sp>
        <p:nvSpPr>
          <p:cNvPr id="18" name="箭头: V 形 17"/>
          <p:cNvSpPr/>
          <p:nvPr/>
        </p:nvSpPr>
        <p:spPr>
          <a:xfrm>
            <a:off x="7702554" y="3180110"/>
            <a:ext cx="1091475" cy="1891890"/>
          </a:xfrm>
          <a:prstGeom prst="chevron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9" name="椭圆 18"/>
          <p:cNvSpPr/>
          <p:nvPr/>
        </p:nvSpPr>
        <p:spPr>
          <a:xfrm>
            <a:off x="7882594" y="3781320"/>
            <a:ext cx="657692" cy="657689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bg1">
                <a:lumMod val="95000"/>
              </a:schemeClr>
            </a:solidFill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/>
          <a:p>
            <a:pPr algn="ctr">
              <a:buSzPct val="25000"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>
          <a:xfrm>
            <a:off x="8001541" y="3894280"/>
            <a:ext cx="419796" cy="431768"/>
          </a:xfrm>
          <a:custGeom>
            <a:avLst/>
            <a:gdLst>
              <a:gd name="T0" fmla="*/ 6023 w 6383"/>
              <a:gd name="T1" fmla="*/ 2985 h 6575"/>
              <a:gd name="T2" fmla="*/ 5921 w 6383"/>
              <a:gd name="T3" fmla="*/ 1957 h 6575"/>
              <a:gd name="T4" fmla="*/ 5304 w 6383"/>
              <a:gd name="T5" fmla="*/ 1379 h 6575"/>
              <a:gd name="T6" fmla="*/ 4619 w 6383"/>
              <a:gd name="T7" fmla="*/ 608 h 6575"/>
              <a:gd name="T8" fmla="*/ 3777 w 6383"/>
              <a:gd name="T9" fmla="*/ 501 h 6575"/>
              <a:gd name="T10" fmla="*/ 2768 w 6383"/>
              <a:gd name="T11" fmla="*/ 280 h 6575"/>
              <a:gd name="T12" fmla="*/ 2028 w 6383"/>
              <a:gd name="T13" fmla="*/ 688 h 6575"/>
              <a:gd name="T14" fmla="*/ 1083 w 6383"/>
              <a:gd name="T15" fmla="*/ 1103 h 6575"/>
              <a:gd name="T16" fmla="*/ 723 w 6383"/>
              <a:gd name="T17" fmla="*/ 1868 h 6575"/>
              <a:gd name="T18" fmla="*/ 201 w 6383"/>
              <a:gd name="T19" fmla="*/ 2759 h 6575"/>
              <a:gd name="T20" fmla="*/ 360 w 6383"/>
              <a:gd name="T21" fmla="*/ 3591 h 6575"/>
              <a:gd name="T22" fmla="*/ 461 w 6383"/>
              <a:gd name="T23" fmla="*/ 4619 h 6575"/>
              <a:gd name="T24" fmla="*/ 1079 w 6383"/>
              <a:gd name="T25" fmla="*/ 5197 h 6575"/>
              <a:gd name="T26" fmla="*/ 1764 w 6383"/>
              <a:gd name="T27" fmla="*/ 5968 h 6575"/>
              <a:gd name="T28" fmla="*/ 2604 w 6383"/>
              <a:gd name="T29" fmla="*/ 6073 h 6575"/>
              <a:gd name="T30" fmla="*/ 3613 w 6383"/>
              <a:gd name="T31" fmla="*/ 6295 h 6575"/>
              <a:gd name="T32" fmla="*/ 4353 w 6383"/>
              <a:gd name="T33" fmla="*/ 5888 h 6575"/>
              <a:gd name="T34" fmla="*/ 5299 w 6383"/>
              <a:gd name="T35" fmla="*/ 5473 h 6575"/>
              <a:gd name="T36" fmla="*/ 5659 w 6383"/>
              <a:gd name="T37" fmla="*/ 4708 h 6575"/>
              <a:gd name="T38" fmla="*/ 6180 w 6383"/>
              <a:gd name="T39" fmla="*/ 3817 h 6575"/>
              <a:gd name="T40" fmla="*/ 3877 w 6383"/>
              <a:gd name="T41" fmla="*/ 4231 h 6575"/>
              <a:gd name="T42" fmla="*/ 3381 w 6383"/>
              <a:gd name="T43" fmla="*/ 4613 h 6575"/>
              <a:gd name="T44" fmla="*/ 3287 w 6383"/>
              <a:gd name="T45" fmla="*/ 4924 h 6575"/>
              <a:gd name="T46" fmla="*/ 2960 w 6383"/>
              <a:gd name="T47" fmla="*/ 4820 h 6575"/>
              <a:gd name="T48" fmla="*/ 2844 w 6383"/>
              <a:gd name="T49" fmla="*/ 4529 h 6575"/>
              <a:gd name="T50" fmla="*/ 2356 w 6383"/>
              <a:gd name="T51" fmla="*/ 4233 h 6575"/>
              <a:gd name="T52" fmla="*/ 2560 w 6383"/>
              <a:gd name="T53" fmla="*/ 3940 h 6575"/>
              <a:gd name="T54" fmla="*/ 3307 w 6383"/>
              <a:gd name="T55" fmla="*/ 4036 h 6575"/>
              <a:gd name="T56" fmla="*/ 3193 w 6383"/>
              <a:gd name="T57" fmla="*/ 3535 h 6575"/>
              <a:gd name="T58" fmla="*/ 2365 w 6383"/>
              <a:gd name="T59" fmla="*/ 2705 h 6575"/>
              <a:gd name="T60" fmla="*/ 2991 w 6383"/>
              <a:gd name="T61" fmla="*/ 1897 h 6575"/>
              <a:gd name="T62" fmla="*/ 3105 w 6383"/>
              <a:gd name="T63" fmla="*/ 1651 h 6575"/>
              <a:gd name="T64" fmla="*/ 3401 w 6383"/>
              <a:gd name="T65" fmla="*/ 1856 h 6575"/>
              <a:gd name="T66" fmla="*/ 3865 w 6383"/>
              <a:gd name="T67" fmla="*/ 2119 h 6575"/>
              <a:gd name="T68" fmla="*/ 3847 w 6383"/>
              <a:gd name="T69" fmla="*/ 2508 h 6575"/>
              <a:gd name="T70" fmla="*/ 3208 w 6383"/>
              <a:gd name="T71" fmla="*/ 2464 h 6575"/>
              <a:gd name="T72" fmla="*/ 3025 w 6383"/>
              <a:gd name="T73" fmla="*/ 2832 h 6575"/>
              <a:gd name="T74" fmla="*/ 3647 w 6383"/>
              <a:gd name="T75" fmla="*/ 3137 h 6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383" h="6575">
                <a:moveTo>
                  <a:pt x="6023" y="3591"/>
                </a:moveTo>
                <a:cubicBezTo>
                  <a:pt x="5895" y="3409"/>
                  <a:pt x="5895" y="3167"/>
                  <a:pt x="6023" y="2985"/>
                </a:cubicBezTo>
                <a:lnTo>
                  <a:pt x="6181" y="2759"/>
                </a:lnTo>
                <a:cubicBezTo>
                  <a:pt x="6383" y="2472"/>
                  <a:pt x="6253" y="2072"/>
                  <a:pt x="5921" y="1957"/>
                </a:cubicBezTo>
                <a:lnTo>
                  <a:pt x="5660" y="1868"/>
                </a:lnTo>
                <a:cubicBezTo>
                  <a:pt x="5451" y="1796"/>
                  <a:pt x="5308" y="1600"/>
                  <a:pt x="5304" y="1379"/>
                </a:cubicBezTo>
                <a:lnTo>
                  <a:pt x="5300" y="1103"/>
                </a:lnTo>
                <a:cubicBezTo>
                  <a:pt x="5295" y="752"/>
                  <a:pt x="4953" y="505"/>
                  <a:pt x="4619" y="608"/>
                </a:cubicBezTo>
                <a:lnTo>
                  <a:pt x="4353" y="688"/>
                </a:lnTo>
                <a:cubicBezTo>
                  <a:pt x="4141" y="753"/>
                  <a:pt x="3911" y="679"/>
                  <a:pt x="3777" y="501"/>
                </a:cubicBezTo>
                <a:lnTo>
                  <a:pt x="3611" y="280"/>
                </a:lnTo>
                <a:cubicBezTo>
                  <a:pt x="3400" y="0"/>
                  <a:pt x="2979" y="0"/>
                  <a:pt x="2768" y="280"/>
                </a:cubicBezTo>
                <a:lnTo>
                  <a:pt x="2604" y="501"/>
                </a:lnTo>
                <a:cubicBezTo>
                  <a:pt x="2471" y="679"/>
                  <a:pt x="2240" y="753"/>
                  <a:pt x="2028" y="688"/>
                </a:cubicBezTo>
                <a:lnTo>
                  <a:pt x="1764" y="608"/>
                </a:lnTo>
                <a:cubicBezTo>
                  <a:pt x="1429" y="505"/>
                  <a:pt x="1088" y="752"/>
                  <a:pt x="1083" y="1103"/>
                </a:cubicBezTo>
                <a:lnTo>
                  <a:pt x="1079" y="1379"/>
                </a:lnTo>
                <a:cubicBezTo>
                  <a:pt x="1075" y="1600"/>
                  <a:pt x="933" y="1796"/>
                  <a:pt x="723" y="1868"/>
                </a:cubicBezTo>
                <a:lnTo>
                  <a:pt x="461" y="1957"/>
                </a:lnTo>
                <a:cubicBezTo>
                  <a:pt x="129" y="2071"/>
                  <a:pt x="0" y="2471"/>
                  <a:pt x="201" y="2759"/>
                </a:cubicBezTo>
                <a:lnTo>
                  <a:pt x="360" y="2985"/>
                </a:lnTo>
                <a:cubicBezTo>
                  <a:pt x="488" y="3167"/>
                  <a:pt x="488" y="3409"/>
                  <a:pt x="360" y="3591"/>
                </a:cubicBezTo>
                <a:lnTo>
                  <a:pt x="201" y="3817"/>
                </a:lnTo>
                <a:cubicBezTo>
                  <a:pt x="0" y="4104"/>
                  <a:pt x="129" y="4504"/>
                  <a:pt x="461" y="4619"/>
                </a:cubicBezTo>
                <a:lnTo>
                  <a:pt x="723" y="4708"/>
                </a:lnTo>
                <a:cubicBezTo>
                  <a:pt x="932" y="4780"/>
                  <a:pt x="1075" y="4976"/>
                  <a:pt x="1079" y="5197"/>
                </a:cubicBezTo>
                <a:lnTo>
                  <a:pt x="1083" y="5473"/>
                </a:lnTo>
                <a:cubicBezTo>
                  <a:pt x="1088" y="5824"/>
                  <a:pt x="1429" y="6071"/>
                  <a:pt x="1764" y="5968"/>
                </a:cubicBezTo>
                <a:lnTo>
                  <a:pt x="2028" y="5887"/>
                </a:lnTo>
                <a:cubicBezTo>
                  <a:pt x="2240" y="5821"/>
                  <a:pt x="2471" y="5896"/>
                  <a:pt x="2604" y="6073"/>
                </a:cubicBezTo>
                <a:lnTo>
                  <a:pt x="2771" y="6295"/>
                </a:lnTo>
                <a:cubicBezTo>
                  <a:pt x="2981" y="6575"/>
                  <a:pt x="3403" y="6575"/>
                  <a:pt x="3613" y="6295"/>
                </a:cubicBezTo>
                <a:lnTo>
                  <a:pt x="3777" y="6075"/>
                </a:lnTo>
                <a:cubicBezTo>
                  <a:pt x="3911" y="5897"/>
                  <a:pt x="4141" y="5823"/>
                  <a:pt x="4353" y="5888"/>
                </a:cubicBezTo>
                <a:lnTo>
                  <a:pt x="4617" y="5968"/>
                </a:lnTo>
                <a:cubicBezTo>
                  <a:pt x="4952" y="6071"/>
                  <a:pt x="5293" y="5824"/>
                  <a:pt x="5299" y="5473"/>
                </a:cubicBezTo>
                <a:lnTo>
                  <a:pt x="5303" y="5197"/>
                </a:lnTo>
                <a:cubicBezTo>
                  <a:pt x="5307" y="4976"/>
                  <a:pt x="5448" y="4780"/>
                  <a:pt x="5659" y="4708"/>
                </a:cubicBezTo>
                <a:lnTo>
                  <a:pt x="5920" y="4619"/>
                </a:lnTo>
                <a:cubicBezTo>
                  <a:pt x="6252" y="4505"/>
                  <a:pt x="6381" y="4105"/>
                  <a:pt x="6180" y="3817"/>
                </a:cubicBezTo>
                <a:lnTo>
                  <a:pt x="6023" y="3591"/>
                </a:lnTo>
                <a:close/>
                <a:moveTo>
                  <a:pt x="3877" y="4231"/>
                </a:moveTo>
                <a:cubicBezTo>
                  <a:pt x="3773" y="4357"/>
                  <a:pt x="3637" y="4443"/>
                  <a:pt x="3479" y="4487"/>
                </a:cubicBezTo>
                <a:cubicBezTo>
                  <a:pt x="3409" y="4505"/>
                  <a:pt x="3379" y="4541"/>
                  <a:pt x="3381" y="4613"/>
                </a:cubicBezTo>
                <a:cubicBezTo>
                  <a:pt x="3384" y="4684"/>
                  <a:pt x="3381" y="4755"/>
                  <a:pt x="3381" y="4825"/>
                </a:cubicBezTo>
                <a:cubicBezTo>
                  <a:pt x="3381" y="4888"/>
                  <a:pt x="3349" y="4923"/>
                  <a:pt x="3287" y="4924"/>
                </a:cubicBezTo>
                <a:cubicBezTo>
                  <a:pt x="3211" y="4925"/>
                  <a:pt x="3135" y="4925"/>
                  <a:pt x="3059" y="4924"/>
                </a:cubicBezTo>
                <a:cubicBezTo>
                  <a:pt x="2992" y="4923"/>
                  <a:pt x="2961" y="4885"/>
                  <a:pt x="2960" y="4820"/>
                </a:cubicBezTo>
                <a:cubicBezTo>
                  <a:pt x="2960" y="4768"/>
                  <a:pt x="2959" y="4717"/>
                  <a:pt x="2959" y="4665"/>
                </a:cubicBezTo>
                <a:cubicBezTo>
                  <a:pt x="2957" y="4552"/>
                  <a:pt x="2953" y="4547"/>
                  <a:pt x="2844" y="4529"/>
                </a:cubicBezTo>
                <a:cubicBezTo>
                  <a:pt x="2704" y="4507"/>
                  <a:pt x="2567" y="4475"/>
                  <a:pt x="2439" y="4413"/>
                </a:cubicBezTo>
                <a:cubicBezTo>
                  <a:pt x="2337" y="4364"/>
                  <a:pt x="2328" y="4339"/>
                  <a:pt x="2356" y="4233"/>
                </a:cubicBezTo>
                <a:cubicBezTo>
                  <a:pt x="2377" y="4155"/>
                  <a:pt x="2399" y="4076"/>
                  <a:pt x="2424" y="3999"/>
                </a:cubicBezTo>
                <a:cubicBezTo>
                  <a:pt x="2452" y="3908"/>
                  <a:pt x="2477" y="3897"/>
                  <a:pt x="2560" y="3940"/>
                </a:cubicBezTo>
                <a:cubicBezTo>
                  <a:pt x="2701" y="4013"/>
                  <a:pt x="2852" y="4055"/>
                  <a:pt x="3011" y="4075"/>
                </a:cubicBezTo>
                <a:cubicBezTo>
                  <a:pt x="3112" y="4088"/>
                  <a:pt x="3212" y="4077"/>
                  <a:pt x="3307" y="4036"/>
                </a:cubicBezTo>
                <a:cubicBezTo>
                  <a:pt x="3483" y="3959"/>
                  <a:pt x="3511" y="3755"/>
                  <a:pt x="3361" y="3633"/>
                </a:cubicBezTo>
                <a:cubicBezTo>
                  <a:pt x="3311" y="3592"/>
                  <a:pt x="3253" y="3561"/>
                  <a:pt x="3193" y="3535"/>
                </a:cubicBezTo>
                <a:cubicBezTo>
                  <a:pt x="3039" y="3467"/>
                  <a:pt x="2879" y="3415"/>
                  <a:pt x="2733" y="3328"/>
                </a:cubicBezTo>
                <a:cubicBezTo>
                  <a:pt x="2497" y="3187"/>
                  <a:pt x="2347" y="2992"/>
                  <a:pt x="2365" y="2705"/>
                </a:cubicBezTo>
                <a:cubicBezTo>
                  <a:pt x="2385" y="2380"/>
                  <a:pt x="2569" y="2177"/>
                  <a:pt x="2867" y="2069"/>
                </a:cubicBezTo>
                <a:cubicBezTo>
                  <a:pt x="2989" y="2024"/>
                  <a:pt x="2991" y="2027"/>
                  <a:pt x="2991" y="1897"/>
                </a:cubicBezTo>
                <a:lnTo>
                  <a:pt x="2991" y="1767"/>
                </a:lnTo>
                <a:cubicBezTo>
                  <a:pt x="2993" y="1669"/>
                  <a:pt x="3009" y="1653"/>
                  <a:pt x="3105" y="1651"/>
                </a:cubicBezTo>
                <a:cubicBezTo>
                  <a:pt x="3135" y="1649"/>
                  <a:pt x="3165" y="1651"/>
                  <a:pt x="3195" y="1651"/>
                </a:cubicBezTo>
                <a:cubicBezTo>
                  <a:pt x="3400" y="1651"/>
                  <a:pt x="3400" y="1651"/>
                  <a:pt x="3401" y="1856"/>
                </a:cubicBezTo>
                <a:cubicBezTo>
                  <a:pt x="3401" y="2001"/>
                  <a:pt x="3401" y="2001"/>
                  <a:pt x="3547" y="2024"/>
                </a:cubicBezTo>
                <a:cubicBezTo>
                  <a:pt x="3657" y="2041"/>
                  <a:pt x="3764" y="2075"/>
                  <a:pt x="3865" y="2119"/>
                </a:cubicBezTo>
                <a:cubicBezTo>
                  <a:pt x="3921" y="2144"/>
                  <a:pt x="3943" y="2183"/>
                  <a:pt x="3925" y="2243"/>
                </a:cubicBezTo>
                <a:cubicBezTo>
                  <a:pt x="3900" y="2332"/>
                  <a:pt x="3876" y="2420"/>
                  <a:pt x="3847" y="2508"/>
                </a:cubicBezTo>
                <a:cubicBezTo>
                  <a:pt x="3820" y="2591"/>
                  <a:pt x="3793" y="2603"/>
                  <a:pt x="3713" y="2564"/>
                </a:cubicBezTo>
                <a:cubicBezTo>
                  <a:pt x="3553" y="2487"/>
                  <a:pt x="3385" y="2455"/>
                  <a:pt x="3208" y="2464"/>
                </a:cubicBezTo>
                <a:cubicBezTo>
                  <a:pt x="3161" y="2467"/>
                  <a:pt x="3116" y="2473"/>
                  <a:pt x="3073" y="2492"/>
                </a:cubicBezTo>
                <a:cubicBezTo>
                  <a:pt x="2920" y="2559"/>
                  <a:pt x="2896" y="2728"/>
                  <a:pt x="3025" y="2832"/>
                </a:cubicBezTo>
                <a:cubicBezTo>
                  <a:pt x="3091" y="2885"/>
                  <a:pt x="3167" y="2923"/>
                  <a:pt x="3245" y="2956"/>
                </a:cubicBezTo>
                <a:cubicBezTo>
                  <a:pt x="3381" y="3012"/>
                  <a:pt x="3517" y="3065"/>
                  <a:pt x="3647" y="3137"/>
                </a:cubicBezTo>
                <a:cubicBezTo>
                  <a:pt x="4056" y="3365"/>
                  <a:pt x="4167" y="3880"/>
                  <a:pt x="3877" y="4231"/>
                </a:cubicBezTo>
                <a:close/>
              </a:path>
            </a:pathLst>
          </a:custGeom>
          <a:solidFill>
            <a:schemeClr val="accent2"/>
          </a:solidFill>
          <a:ln w="38100" cap="flat" cmpd="sng">
            <a:noFill/>
            <a:prstDash val="solid"/>
            <a:miter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endParaRPr lang="en-US" sz="14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6006133" y="3686175"/>
            <a:ext cx="1696421" cy="1074799"/>
            <a:chOff x="6047228" y="2284977"/>
            <a:chExt cx="1696421" cy="1074799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1D4CDB25-6F98-4131-8836-D48A299E62FF}"/>
                </a:ext>
              </a:extLst>
            </p:cNvPr>
            <p:cNvSpPr/>
            <p:nvPr/>
          </p:nvSpPr>
          <p:spPr bwMode="auto">
            <a:xfrm>
              <a:off x="6047228" y="2697858"/>
              <a:ext cx="1696421" cy="661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Supporting </a:t>
              </a:r>
              <a:r>
                <a:rPr lang="en-US" altLang="zh-CN" sz="1100">
                  <a:cs typeface="+mn-ea"/>
                  <a:sym typeface="+mn-lt"/>
                </a:rPr>
                <a:t>text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here</a:t>
              </a:r>
              <a:r>
                <a:rPr lang="en-US" altLang="zh-CN" sz="1100" dirty="0">
                  <a:cs typeface="+mn-ea"/>
                  <a:sym typeface="+mn-lt"/>
                </a:rPr>
                <a:t>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957DAD2D-BFEA-41A1-B629-45718F1538A2}"/>
                </a:ext>
              </a:extLst>
            </p:cNvPr>
            <p:cNvSpPr txBox="1"/>
            <p:nvPr/>
          </p:nvSpPr>
          <p:spPr bwMode="auto">
            <a:xfrm>
              <a:off x="6047228" y="2284977"/>
              <a:ext cx="1696421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1800" b="1">
                  <a:cs typeface="+mn-ea"/>
                  <a:sym typeface="+mn-lt"/>
                </a:rPr>
                <a:t>here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660399" y="1130300"/>
            <a:ext cx="10858500" cy="1358890"/>
            <a:chOff x="660399" y="4775210"/>
            <a:chExt cx="10858500" cy="1358890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3A4AF6BF-C08C-4C0A-B9C3-D307CBD9EA2D}"/>
                </a:ext>
              </a:extLst>
            </p:cNvPr>
            <p:cNvSpPr txBox="1"/>
            <p:nvPr/>
          </p:nvSpPr>
          <p:spPr>
            <a:xfrm>
              <a:off x="660399" y="4775210"/>
              <a:ext cx="108585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800" dirty="0">
                  <a:solidFill>
                    <a:srgbClr val="3A3838"/>
                  </a:solidFill>
                  <a:cs typeface="+mn-ea"/>
                  <a:sym typeface="+mn-lt"/>
                </a:rPr>
                <a:t>Unified fonts </a:t>
              </a:r>
              <a:r>
                <a:rPr lang="en-US" sz="2800">
                  <a:solidFill>
                    <a:srgbClr val="3A3838"/>
                  </a:solidFill>
                  <a:cs typeface="+mn-ea"/>
                  <a:sym typeface="+mn-lt"/>
                </a:rPr>
                <a:t>make reading</a:t>
              </a:r>
              <a:r>
                <a:rPr lang="en-US" sz="100">
                  <a:solidFill>
                    <a:srgbClr val="3A3838"/>
                  </a:solidFill>
                  <a:cs typeface="+mn-ea"/>
                  <a:sym typeface="+mn-lt"/>
                </a:rPr>
                <a:t> </a:t>
              </a:r>
              <a:r>
                <a:rPr lang="en-US" sz="2800">
                  <a:solidFill>
                    <a:srgbClr val="3A3838"/>
                  </a:solidFill>
                  <a:cs typeface="+mn-ea"/>
                  <a:sym typeface="+mn-lt"/>
                </a:rPr>
                <a:t> </a:t>
              </a:r>
              <a:r>
                <a:rPr lang="en-US" sz="2800" dirty="0">
                  <a:solidFill>
                    <a:srgbClr val="3A3838"/>
                  </a:solidFill>
                  <a:cs typeface="+mn-ea"/>
                  <a:sym typeface="+mn-lt"/>
                </a:rPr>
                <a:t>more fluent.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D7F3D5A6-DC34-47C6-854C-3D43749187A8}"/>
                </a:ext>
              </a:extLst>
            </p:cNvPr>
            <p:cNvSpPr txBox="1"/>
            <p:nvPr/>
          </p:nvSpPr>
          <p:spPr>
            <a:xfrm>
              <a:off x="660401" y="5539617"/>
              <a:ext cx="10858496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>
                  <a:cs typeface="+mn-ea"/>
                  <a:sym typeface="+mn-lt"/>
                </a:rPr>
                <a:t>Theme color makes PPT more convenient to change.</a:t>
              </a:r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>
                  <a:cs typeface="+mn-ea"/>
                  <a:sym typeface="+mn-lt"/>
                </a:rPr>
                <a:t>Adjust the spacing to adapt to </a:t>
              </a:r>
              <a:r>
                <a:rPr lang="en-US" sz="1100">
                  <a:cs typeface="+mn-ea"/>
                  <a:sym typeface="+mn-lt"/>
                </a:rPr>
                <a:t>Chinese typ</a:t>
              </a:r>
              <a:r>
                <a:rPr lang="en-US" sz="100">
                  <a:cs typeface="+mn-ea"/>
                  <a:sym typeface="+mn-lt"/>
                </a:rPr>
                <a:t> </a:t>
              </a:r>
              <a:r>
                <a:rPr lang="en-US" sz="1100">
                  <a:cs typeface="+mn-ea"/>
                  <a:sym typeface="+mn-lt"/>
                </a:rPr>
                <a:t>esetting</a:t>
              </a:r>
              <a:r>
                <a:rPr lang="en-US" sz="1100" dirty="0">
                  <a:cs typeface="+mn-ea"/>
                  <a:sym typeface="+mn-lt"/>
                </a:rPr>
                <a:t>, use the reference line in PP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09684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经过疫情流行地区预防病毒措施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580031" y="348569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53506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经过疫情流行地区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连接符: 肘形 5">
            <a:extLst>
              <a:ext uri="{FF2B5EF4-FFF2-40B4-BE49-F238E27FC236}">
                <a16:creationId xmlns:a16="http://schemas.microsoft.com/office/drawing/2014/main" id="{FDCFA700-7181-4CAD-AF47-38CEEEE5AF82}"/>
              </a:ext>
            </a:extLst>
          </p:cNvPr>
          <p:cNvCxnSpPr>
            <a:cxnSpLocks/>
            <a:stCxn id="21" idx="4"/>
            <a:endCxn id="29" idx="3"/>
          </p:cNvCxnSpPr>
          <p:nvPr/>
        </p:nvCxnSpPr>
        <p:spPr>
          <a:xfrm rot="5400000">
            <a:off x="3243168" y="4566134"/>
            <a:ext cx="1628377" cy="512543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连接符: 肘形 6">
            <a:extLst>
              <a:ext uri="{FF2B5EF4-FFF2-40B4-BE49-F238E27FC236}">
                <a16:creationId xmlns:a16="http://schemas.microsoft.com/office/drawing/2014/main" id="{604A8CA3-50BC-40D4-8507-73EF938B7B8A}"/>
              </a:ext>
            </a:extLst>
          </p:cNvPr>
          <p:cNvCxnSpPr>
            <a:cxnSpLocks/>
            <a:stCxn id="19" idx="4"/>
            <a:endCxn id="27" idx="1"/>
          </p:cNvCxnSpPr>
          <p:nvPr/>
        </p:nvCxnSpPr>
        <p:spPr>
          <a:xfrm rot="16200000" flipH="1">
            <a:off x="5972420" y="4566132"/>
            <a:ext cx="1628379" cy="512543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连接符: 肘形 7">
            <a:extLst>
              <a:ext uri="{FF2B5EF4-FFF2-40B4-BE49-F238E27FC236}">
                <a16:creationId xmlns:a16="http://schemas.microsoft.com/office/drawing/2014/main" id="{0DBF6499-B671-4431-ABFF-57A000F54BFF}"/>
              </a:ext>
            </a:extLst>
          </p:cNvPr>
          <p:cNvCxnSpPr>
            <a:cxnSpLocks/>
            <a:stCxn id="15" idx="0"/>
            <a:endCxn id="31" idx="3"/>
          </p:cNvCxnSpPr>
          <p:nvPr/>
        </p:nvCxnSpPr>
        <p:spPr>
          <a:xfrm rot="16200000" flipV="1">
            <a:off x="4640415" y="2392220"/>
            <a:ext cx="1240774" cy="512543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连接符: 肘形 8">
            <a:extLst>
              <a:ext uri="{FF2B5EF4-FFF2-40B4-BE49-F238E27FC236}">
                <a16:creationId xmlns:a16="http://schemas.microsoft.com/office/drawing/2014/main" id="{A8347ACE-2AAD-4A7D-AD60-779EC7E41BE1}"/>
              </a:ext>
            </a:extLst>
          </p:cNvPr>
          <p:cNvCxnSpPr>
            <a:cxnSpLocks/>
            <a:stCxn id="17" idx="0"/>
            <a:endCxn id="33" idx="1"/>
          </p:cNvCxnSpPr>
          <p:nvPr/>
        </p:nvCxnSpPr>
        <p:spPr>
          <a:xfrm rot="5400000" flipH="1" flipV="1">
            <a:off x="7202526" y="2392221"/>
            <a:ext cx="1240774" cy="512543"/>
          </a:xfrm>
          <a:prstGeom prst="bentConnector2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42ADF14E-1464-4668-A18C-653F14C7E35A}"/>
              </a:ext>
            </a:extLst>
          </p:cNvPr>
          <p:cNvSpPr/>
          <p:nvPr/>
        </p:nvSpPr>
        <p:spPr bwMode="auto">
          <a:xfrm rot="5400000" flipV="1">
            <a:off x="5757536" y="2807862"/>
            <a:ext cx="2026567" cy="1661373"/>
          </a:xfrm>
          <a:custGeom>
            <a:avLst/>
            <a:gdLst>
              <a:gd name="connsiteX0" fmla="*/ 0 w 1697038"/>
              <a:gd name="connsiteY0" fmla="*/ 0 h 1391226"/>
              <a:gd name="connsiteX1" fmla="*/ 94280 w 1697038"/>
              <a:gd name="connsiteY1" fmla="*/ 150997 h 1391226"/>
              <a:gd name="connsiteX2" fmla="*/ 763667 w 1697038"/>
              <a:gd name="connsiteY2" fmla="*/ 585112 h 1391226"/>
              <a:gd name="connsiteX3" fmla="*/ 942799 w 1697038"/>
              <a:gd name="connsiteY3" fmla="*/ 585112 h 1391226"/>
              <a:gd name="connsiteX4" fmla="*/ 1602758 w 1697038"/>
              <a:gd name="connsiteY4" fmla="*/ 150997 h 1391226"/>
              <a:gd name="connsiteX5" fmla="*/ 1697038 w 1697038"/>
              <a:gd name="connsiteY5" fmla="*/ 0 h 1391226"/>
              <a:gd name="connsiteX6" fmla="*/ 1697038 w 1697038"/>
              <a:gd name="connsiteY6" fmla="*/ 92634 h 1391226"/>
              <a:gd name="connsiteX7" fmla="*/ 1697038 w 1697038"/>
              <a:gd name="connsiteY7" fmla="*/ 784912 h 1391226"/>
              <a:gd name="connsiteX8" fmla="*/ 1602758 w 1697038"/>
              <a:gd name="connsiteY8" fmla="*/ 926464 h 1391226"/>
              <a:gd name="connsiteX9" fmla="*/ 942799 w 1697038"/>
              <a:gd name="connsiteY9" fmla="*/ 1369994 h 1391226"/>
              <a:gd name="connsiteX10" fmla="*/ 763667 w 1697038"/>
              <a:gd name="connsiteY10" fmla="*/ 1369994 h 1391226"/>
              <a:gd name="connsiteX11" fmla="*/ 94280 w 1697038"/>
              <a:gd name="connsiteY11" fmla="*/ 926464 h 1391226"/>
              <a:gd name="connsiteX12" fmla="*/ 0 w 1697038"/>
              <a:gd name="connsiteY12" fmla="*/ 784912 h 1391226"/>
              <a:gd name="connsiteX13" fmla="*/ 0 w 1697038"/>
              <a:gd name="connsiteY13" fmla="*/ 92634 h 1391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97038" h="1391226">
                <a:moveTo>
                  <a:pt x="0" y="0"/>
                </a:moveTo>
                <a:cubicBezTo>
                  <a:pt x="0" y="66061"/>
                  <a:pt x="28284" y="103810"/>
                  <a:pt x="94280" y="150997"/>
                </a:cubicBezTo>
                <a:cubicBezTo>
                  <a:pt x="160276" y="188746"/>
                  <a:pt x="763667" y="585112"/>
                  <a:pt x="763667" y="585112"/>
                </a:cubicBezTo>
                <a:cubicBezTo>
                  <a:pt x="810807" y="622861"/>
                  <a:pt x="895659" y="622861"/>
                  <a:pt x="942799" y="585112"/>
                </a:cubicBezTo>
                <a:cubicBezTo>
                  <a:pt x="942799" y="585112"/>
                  <a:pt x="1536762" y="188746"/>
                  <a:pt x="1602758" y="150997"/>
                </a:cubicBezTo>
                <a:cubicBezTo>
                  <a:pt x="1668754" y="103810"/>
                  <a:pt x="1697038" y="66061"/>
                  <a:pt x="1697038" y="0"/>
                </a:cubicBezTo>
                <a:lnTo>
                  <a:pt x="1697038" y="92634"/>
                </a:lnTo>
                <a:cubicBezTo>
                  <a:pt x="1697038" y="371314"/>
                  <a:pt x="1697038" y="749524"/>
                  <a:pt x="1697038" y="784912"/>
                </a:cubicBezTo>
                <a:cubicBezTo>
                  <a:pt x="1697038" y="841533"/>
                  <a:pt x="1668754" y="888717"/>
                  <a:pt x="1602758" y="926464"/>
                </a:cubicBezTo>
                <a:cubicBezTo>
                  <a:pt x="1536762" y="973648"/>
                  <a:pt x="942799" y="1369994"/>
                  <a:pt x="942799" y="1369994"/>
                </a:cubicBezTo>
                <a:cubicBezTo>
                  <a:pt x="895659" y="1398304"/>
                  <a:pt x="810807" y="1398304"/>
                  <a:pt x="763667" y="1369994"/>
                </a:cubicBezTo>
                <a:cubicBezTo>
                  <a:pt x="763667" y="1369994"/>
                  <a:pt x="160276" y="973648"/>
                  <a:pt x="94280" y="926464"/>
                </a:cubicBezTo>
                <a:cubicBezTo>
                  <a:pt x="28284" y="888717"/>
                  <a:pt x="0" y="841533"/>
                  <a:pt x="0" y="784912"/>
                </a:cubicBezTo>
                <a:cubicBezTo>
                  <a:pt x="0" y="749524"/>
                  <a:pt x="0" y="371314"/>
                  <a:pt x="0" y="92634"/>
                </a:cubicBez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17E7A026-553B-4CF4-A6DA-4BA54F455B98}"/>
              </a:ext>
            </a:extLst>
          </p:cNvPr>
          <p:cNvSpPr/>
          <p:nvPr/>
        </p:nvSpPr>
        <p:spPr bwMode="auto">
          <a:xfrm rot="5400000" flipV="1">
            <a:off x="4744273" y="2809958"/>
            <a:ext cx="2026567" cy="1657181"/>
          </a:xfrm>
          <a:custGeom>
            <a:avLst/>
            <a:gdLst>
              <a:gd name="connsiteX0" fmla="*/ 0 w 1697038"/>
              <a:gd name="connsiteY0" fmla="*/ 0 h 1387717"/>
              <a:gd name="connsiteX1" fmla="*/ 94280 w 1697038"/>
              <a:gd name="connsiteY1" fmla="*/ 141691 h 1387717"/>
              <a:gd name="connsiteX2" fmla="*/ 763667 w 1697038"/>
              <a:gd name="connsiteY2" fmla="*/ 576210 h 1387717"/>
              <a:gd name="connsiteX3" fmla="*/ 942799 w 1697038"/>
              <a:gd name="connsiteY3" fmla="*/ 576210 h 1387717"/>
              <a:gd name="connsiteX4" fmla="*/ 1602758 w 1697038"/>
              <a:gd name="connsiteY4" fmla="*/ 141691 h 1387717"/>
              <a:gd name="connsiteX5" fmla="*/ 1697038 w 1697038"/>
              <a:gd name="connsiteY5" fmla="*/ 0 h 1387717"/>
              <a:gd name="connsiteX6" fmla="*/ 1697038 w 1697038"/>
              <a:gd name="connsiteY6" fmla="*/ 9048 h 1387717"/>
              <a:gd name="connsiteX7" fmla="*/ 1697038 w 1697038"/>
              <a:gd name="connsiteY7" fmla="*/ 774294 h 1387717"/>
              <a:gd name="connsiteX8" fmla="*/ 1602758 w 1697038"/>
              <a:gd name="connsiteY8" fmla="*/ 925291 h 1387717"/>
              <a:gd name="connsiteX9" fmla="*/ 942799 w 1697038"/>
              <a:gd name="connsiteY9" fmla="*/ 1359406 h 1387717"/>
              <a:gd name="connsiteX10" fmla="*/ 763667 w 1697038"/>
              <a:gd name="connsiteY10" fmla="*/ 1359406 h 1387717"/>
              <a:gd name="connsiteX11" fmla="*/ 94280 w 1697038"/>
              <a:gd name="connsiteY11" fmla="*/ 925291 h 1387717"/>
              <a:gd name="connsiteX12" fmla="*/ 0 w 1697038"/>
              <a:gd name="connsiteY12" fmla="*/ 774294 h 1387717"/>
              <a:gd name="connsiteX13" fmla="*/ 0 w 1697038"/>
              <a:gd name="connsiteY13" fmla="*/ 9048 h 1387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97038" h="1387717">
                <a:moveTo>
                  <a:pt x="0" y="0"/>
                </a:moveTo>
                <a:cubicBezTo>
                  <a:pt x="0" y="56676"/>
                  <a:pt x="28284" y="94461"/>
                  <a:pt x="94280" y="141691"/>
                </a:cubicBezTo>
                <a:cubicBezTo>
                  <a:pt x="160276" y="188921"/>
                  <a:pt x="763667" y="576210"/>
                  <a:pt x="763667" y="576210"/>
                </a:cubicBezTo>
                <a:cubicBezTo>
                  <a:pt x="810807" y="613994"/>
                  <a:pt x="895659" y="613994"/>
                  <a:pt x="942799" y="576210"/>
                </a:cubicBezTo>
                <a:cubicBezTo>
                  <a:pt x="942799" y="576210"/>
                  <a:pt x="1536762" y="188921"/>
                  <a:pt x="1602758" y="141691"/>
                </a:cubicBezTo>
                <a:cubicBezTo>
                  <a:pt x="1668754" y="94461"/>
                  <a:pt x="1697038" y="56676"/>
                  <a:pt x="1697038" y="0"/>
                </a:cubicBezTo>
                <a:lnTo>
                  <a:pt x="1697038" y="9048"/>
                </a:lnTo>
                <a:cubicBezTo>
                  <a:pt x="1697038" y="286061"/>
                  <a:pt x="1697038" y="735365"/>
                  <a:pt x="1697038" y="774294"/>
                </a:cubicBezTo>
                <a:cubicBezTo>
                  <a:pt x="1697038" y="840355"/>
                  <a:pt x="1668754" y="878104"/>
                  <a:pt x="1602758" y="925291"/>
                </a:cubicBezTo>
                <a:cubicBezTo>
                  <a:pt x="1536762" y="963040"/>
                  <a:pt x="942799" y="1359406"/>
                  <a:pt x="942799" y="1359406"/>
                </a:cubicBezTo>
                <a:cubicBezTo>
                  <a:pt x="895659" y="1397155"/>
                  <a:pt x="810807" y="1397155"/>
                  <a:pt x="763667" y="1359406"/>
                </a:cubicBezTo>
                <a:cubicBezTo>
                  <a:pt x="763667" y="1359406"/>
                  <a:pt x="160276" y="963040"/>
                  <a:pt x="94280" y="925291"/>
                </a:cubicBezTo>
                <a:cubicBezTo>
                  <a:pt x="28284" y="878104"/>
                  <a:pt x="0" y="840355"/>
                  <a:pt x="0" y="774294"/>
                </a:cubicBezTo>
                <a:cubicBezTo>
                  <a:pt x="0" y="735365"/>
                  <a:pt x="0" y="286061"/>
                  <a:pt x="0" y="904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6A9BEB30-D98A-4962-BEC8-95EE8E59EBF5}"/>
              </a:ext>
            </a:extLst>
          </p:cNvPr>
          <p:cNvSpPr/>
          <p:nvPr/>
        </p:nvSpPr>
        <p:spPr bwMode="auto">
          <a:xfrm rot="5400000" flipV="1">
            <a:off x="6793842" y="2786917"/>
            <a:ext cx="2026567" cy="1703264"/>
          </a:xfrm>
          <a:custGeom>
            <a:avLst/>
            <a:gdLst>
              <a:gd name="connsiteX0" fmla="*/ 0 w 1697038"/>
              <a:gd name="connsiteY0" fmla="*/ 0 h 1426306"/>
              <a:gd name="connsiteX1" fmla="*/ 94280 w 1697038"/>
              <a:gd name="connsiteY1" fmla="*/ 141552 h 1426306"/>
              <a:gd name="connsiteX2" fmla="*/ 763667 w 1697038"/>
              <a:gd name="connsiteY2" fmla="*/ 585082 h 1426306"/>
              <a:gd name="connsiteX3" fmla="*/ 942799 w 1697038"/>
              <a:gd name="connsiteY3" fmla="*/ 585082 h 1426306"/>
              <a:gd name="connsiteX4" fmla="*/ 1602758 w 1697038"/>
              <a:gd name="connsiteY4" fmla="*/ 141552 h 1426306"/>
              <a:gd name="connsiteX5" fmla="*/ 1697038 w 1697038"/>
              <a:gd name="connsiteY5" fmla="*/ 0 h 1426306"/>
              <a:gd name="connsiteX6" fmla="*/ 1697038 w 1697038"/>
              <a:gd name="connsiteY6" fmla="*/ 126439 h 1426306"/>
              <a:gd name="connsiteX7" fmla="*/ 1697038 w 1697038"/>
              <a:gd name="connsiteY7" fmla="*/ 819397 h 1426306"/>
              <a:gd name="connsiteX8" fmla="*/ 1602758 w 1697038"/>
              <a:gd name="connsiteY8" fmla="*/ 961088 h 1426306"/>
              <a:gd name="connsiteX9" fmla="*/ 942799 w 1697038"/>
              <a:gd name="connsiteY9" fmla="*/ 1405053 h 1426306"/>
              <a:gd name="connsiteX10" fmla="*/ 763667 w 1697038"/>
              <a:gd name="connsiteY10" fmla="*/ 1405053 h 1426306"/>
              <a:gd name="connsiteX11" fmla="*/ 94280 w 1697038"/>
              <a:gd name="connsiteY11" fmla="*/ 961088 h 1426306"/>
              <a:gd name="connsiteX12" fmla="*/ 0 w 1697038"/>
              <a:gd name="connsiteY12" fmla="*/ 819397 h 1426306"/>
              <a:gd name="connsiteX13" fmla="*/ 0 w 1697038"/>
              <a:gd name="connsiteY13" fmla="*/ 126439 h 1426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97038" h="1426306">
                <a:moveTo>
                  <a:pt x="0" y="0"/>
                </a:moveTo>
                <a:cubicBezTo>
                  <a:pt x="0" y="56621"/>
                  <a:pt x="28284" y="103805"/>
                  <a:pt x="94280" y="141552"/>
                </a:cubicBezTo>
                <a:cubicBezTo>
                  <a:pt x="160276" y="188736"/>
                  <a:pt x="763667" y="585082"/>
                  <a:pt x="763667" y="585082"/>
                </a:cubicBezTo>
                <a:cubicBezTo>
                  <a:pt x="810807" y="613392"/>
                  <a:pt x="895659" y="613392"/>
                  <a:pt x="942799" y="585082"/>
                </a:cubicBezTo>
                <a:cubicBezTo>
                  <a:pt x="942799" y="585082"/>
                  <a:pt x="1536762" y="188736"/>
                  <a:pt x="1602758" y="141552"/>
                </a:cubicBezTo>
                <a:cubicBezTo>
                  <a:pt x="1668754" y="103805"/>
                  <a:pt x="1697038" y="56621"/>
                  <a:pt x="1697038" y="0"/>
                </a:cubicBezTo>
                <a:lnTo>
                  <a:pt x="1697038" y="126439"/>
                </a:lnTo>
                <a:cubicBezTo>
                  <a:pt x="1697038" y="405394"/>
                  <a:pt x="1697038" y="783974"/>
                  <a:pt x="1697038" y="819397"/>
                </a:cubicBezTo>
                <a:cubicBezTo>
                  <a:pt x="1697038" y="876073"/>
                  <a:pt x="1668754" y="913858"/>
                  <a:pt x="1602758" y="961088"/>
                </a:cubicBezTo>
                <a:cubicBezTo>
                  <a:pt x="1536762" y="1008318"/>
                  <a:pt x="942799" y="1405053"/>
                  <a:pt x="942799" y="1405053"/>
                </a:cubicBezTo>
                <a:cubicBezTo>
                  <a:pt x="895659" y="1433391"/>
                  <a:pt x="810807" y="1433391"/>
                  <a:pt x="763667" y="1405053"/>
                </a:cubicBezTo>
                <a:cubicBezTo>
                  <a:pt x="763667" y="1405053"/>
                  <a:pt x="160276" y="1008318"/>
                  <a:pt x="94280" y="961088"/>
                </a:cubicBezTo>
                <a:cubicBezTo>
                  <a:pt x="28284" y="913858"/>
                  <a:pt x="0" y="876073"/>
                  <a:pt x="0" y="819397"/>
                </a:cubicBezTo>
                <a:cubicBezTo>
                  <a:pt x="0" y="783974"/>
                  <a:pt x="0" y="405394"/>
                  <a:pt x="0" y="12643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E95BE5B5-D21A-4C22-9077-73362C3837C6}"/>
              </a:ext>
            </a:extLst>
          </p:cNvPr>
          <p:cNvSpPr/>
          <p:nvPr/>
        </p:nvSpPr>
        <p:spPr bwMode="auto">
          <a:xfrm rot="5400000" flipV="1">
            <a:off x="3540827" y="2617683"/>
            <a:ext cx="2026567" cy="2041732"/>
          </a:xfrm>
          <a:custGeom>
            <a:avLst/>
            <a:gdLst>
              <a:gd name="T0" fmla="*/ 168 w 180"/>
              <a:gd name="T1" fmla="*/ 0 h 181"/>
              <a:gd name="T2" fmla="*/ 180 w 180"/>
              <a:gd name="T3" fmla="*/ 11 h 181"/>
              <a:gd name="T4" fmla="*/ 180 w 180"/>
              <a:gd name="T5" fmla="*/ 116 h 181"/>
              <a:gd name="T6" fmla="*/ 170 w 180"/>
              <a:gd name="T7" fmla="*/ 131 h 181"/>
              <a:gd name="T8" fmla="*/ 100 w 180"/>
              <a:gd name="T9" fmla="*/ 177 h 181"/>
              <a:gd name="T10" fmla="*/ 81 w 180"/>
              <a:gd name="T11" fmla="*/ 177 h 181"/>
              <a:gd name="T12" fmla="*/ 10 w 180"/>
              <a:gd name="T13" fmla="*/ 131 h 181"/>
              <a:gd name="T14" fmla="*/ 0 w 180"/>
              <a:gd name="T15" fmla="*/ 116 h 181"/>
              <a:gd name="T16" fmla="*/ 0 w 180"/>
              <a:gd name="T17" fmla="*/ 11 h 181"/>
              <a:gd name="T18" fmla="*/ 12 w 180"/>
              <a:gd name="T19" fmla="*/ 0 h 181"/>
              <a:gd name="T20" fmla="*/ 168 w 180"/>
              <a:gd name="T21" fmla="*/ 0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0" h="181">
                <a:moveTo>
                  <a:pt x="168" y="0"/>
                </a:moveTo>
                <a:cubicBezTo>
                  <a:pt x="175" y="0"/>
                  <a:pt x="180" y="5"/>
                  <a:pt x="180" y="11"/>
                </a:cubicBezTo>
                <a:cubicBezTo>
                  <a:pt x="180" y="11"/>
                  <a:pt x="180" y="109"/>
                  <a:pt x="180" y="116"/>
                </a:cubicBezTo>
                <a:cubicBezTo>
                  <a:pt x="180" y="122"/>
                  <a:pt x="177" y="126"/>
                  <a:pt x="170" y="131"/>
                </a:cubicBezTo>
                <a:cubicBezTo>
                  <a:pt x="163" y="136"/>
                  <a:pt x="100" y="177"/>
                  <a:pt x="100" y="177"/>
                </a:cubicBezTo>
                <a:cubicBezTo>
                  <a:pt x="95" y="181"/>
                  <a:pt x="86" y="181"/>
                  <a:pt x="81" y="177"/>
                </a:cubicBezTo>
                <a:cubicBezTo>
                  <a:pt x="81" y="177"/>
                  <a:pt x="17" y="136"/>
                  <a:pt x="10" y="131"/>
                </a:cubicBezTo>
                <a:cubicBezTo>
                  <a:pt x="3" y="126"/>
                  <a:pt x="0" y="122"/>
                  <a:pt x="0" y="116"/>
                </a:cubicBezTo>
                <a:cubicBezTo>
                  <a:pt x="0" y="109"/>
                  <a:pt x="0" y="11"/>
                  <a:pt x="0" y="11"/>
                </a:cubicBezTo>
                <a:cubicBezTo>
                  <a:pt x="0" y="5"/>
                  <a:pt x="6" y="0"/>
                  <a:pt x="12" y="0"/>
                </a:cubicBezTo>
                <a:lnTo>
                  <a:pt x="168" y="0"/>
                </a:lnTo>
                <a:close/>
              </a:path>
            </a:pathLst>
          </a:cu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2C8BE1BB-704E-408A-BD50-667E40BE76E4}"/>
              </a:ext>
            </a:extLst>
          </p:cNvPr>
          <p:cNvSpPr/>
          <p:nvPr/>
        </p:nvSpPr>
        <p:spPr bwMode="auto">
          <a:xfrm rot="5400000" flipV="1">
            <a:off x="4952801" y="895047"/>
            <a:ext cx="2286397" cy="5487004"/>
          </a:xfrm>
          <a:custGeom>
            <a:avLst/>
            <a:gdLst>
              <a:gd name="connsiteX0" fmla="*/ 113136 w 1697038"/>
              <a:gd name="connsiteY0" fmla="*/ 0 h 4015641"/>
              <a:gd name="connsiteX1" fmla="*/ 1583902 w 1697038"/>
              <a:gd name="connsiteY1" fmla="*/ 0 h 4015641"/>
              <a:gd name="connsiteX2" fmla="*/ 1697038 w 1697038"/>
              <a:gd name="connsiteY2" fmla="*/ 103907 h 4015641"/>
              <a:gd name="connsiteX3" fmla="*/ 1697038 w 1697038"/>
              <a:gd name="connsiteY3" fmla="*/ 752863 h 4015641"/>
              <a:gd name="connsiteX4" fmla="*/ 1697038 w 1697038"/>
              <a:gd name="connsiteY4" fmla="*/ 878510 h 4015641"/>
              <a:gd name="connsiteX5" fmla="*/ 1697038 w 1697038"/>
              <a:gd name="connsiteY5" fmla="*/ 894590 h 4015641"/>
              <a:gd name="connsiteX6" fmla="*/ 1697038 w 1697038"/>
              <a:gd name="connsiteY6" fmla="*/ 912874 h 4015641"/>
              <a:gd name="connsiteX7" fmla="*/ 1697038 w 1697038"/>
              <a:gd name="connsiteY7" fmla="*/ 939409 h 4015641"/>
              <a:gd name="connsiteX8" fmla="*/ 1697038 w 1697038"/>
              <a:gd name="connsiteY8" fmla="*/ 1007836 h 4015641"/>
              <a:gd name="connsiteX9" fmla="*/ 1697038 w 1697038"/>
              <a:gd name="connsiteY9" fmla="*/ 1034141 h 4015641"/>
              <a:gd name="connsiteX10" fmla="*/ 1697038 w 1697038"/>
              <a:gd name="connsiteY10" fmla="*/ 1073708 h 4015641"/>
              <a:gd name="connsiteX11" fmla="*/ 1697038 w 1697038"/>
              <a:gd name="connsiteY11" fmla="*/ 1094743 h 4015641"/>
              <a:gd name="connsiteX12" fmla="*/ 1697038 w 1697038"/>
              <a:gd name="connsiteY12" fmla="*/ 1095744 h 4015641"/>
              <a:gd name="connsiteX13" fmla="*/ 1697038 w 1697038"/>
              <a:gd name="connsiteY13" fmla="*/ 1303474 h 4015641"/>
              <a:gd name="connsiteX14" fmla="*/ 1697038 w 1697038"/>
              <a:gd name="connsiteY14" fmla="*/ 1524559 h 4015641"/>
              <a:gd name="connsiteX15" fmla="*/ 1697038 w 1697038"/>
              <a:gd name="connsiteY15" fmla="*/ 1643768 h 4015641"/>
              <a:gd name="connsiteX16" fmla="*/ 1697038 w 1697038"/>
              <a:gd name="connsiteY16" fmla="*/ 1660010 h 4015641"/>
              <a:gd name="connsiteX17" fmla="*/ 1697038 w 1697038"/>
              <a:gd name="connsiteY17" fmla="*/ 1682744 h 4015641"/>
              <a:gd name="connsiteX18" fmla="*/ 1697038 w 1697038"/>
              <a:gd name="connsiteY18" fmla="*/ 1705282 h 4015641"/>
              <a:gd name="connsiteX19" fmla="*/ 1697038 w 1697038"/>
              <a:gd name="connsiteY19" fmla="*/ 1748386 h 4015641"/>
              <a:gd name="connsiteX20" fmla="*/ 1697038 w 1697038"/>
              <a:gd name="connsiteY20" fmla="*/ 1774399 h 4015641"/>
              <a:gd name="connsiteX21" fmla="*/ 1697038 w 1697038"/>
              <a:gd name="connsiteY21" fmla="*/ 1801558 h 4015641"/>
              <a:gd name="connsiteX22" fmla="*/ 1697038 w 1697038"/>
              <a:gd name="connsiteY22" fmla="*/ 1839635 h 4015641"/>
              <a:gd name="connsiteX23" fmla="*/ 1697038 w 1697038"/>
              <a:gd name="connsiteY23" fmla="*/ 1859988 h 4015641"/>
              <a:gd name="connsiteX24" fmla="*/ 1697038 w 1697038"/>
              <a:gd name="connsiteY24" fmla="*/ 1862178 h 4015641"/>
              <a:gd name="connsiteX25" fmla="*/ 1697038 w 1697038"/>
              <a:gd name="connsiteY25" fmla="*/ 2296235 h 4015641"/>
              <a:gd name="connsiteX26" fmla="*/ 1697038 w 1697038"/>
              <a:gd name="connsiteY26" fmla="*/ 2416895 h 4015641"/>
              <a:gd name="connsiteX27" fmla="*/ 1697038 w 1697038"/>
              <a:gd name="connsiteY27" fmla="*/ 2427411 h 4015641"/>
              <a:gd name="connsiteX28" fmla="*/ 1697038 w 1697038"/>
              <a:gd name="connsiteY28" fmla="*/ 2455923 h 4015641"/>
              <a:gd name="connsiteX29" fmla="*/ 1697038 w 1697038"/>
              <a:gd name="connsiteY29" fmla="*/ 2457188 h 4015641"/>
              <a:gd name="connsiteX30" fmla="*/ 1697038 w 1697038"/>
              <a:gd name="connsiteY30" fmla="*/ 2503570 h 4015641"/>
              <a:gd name="connsiteX31" fmla="*/ 1697038 w 1697038"/>
              <a:gd name="connsiteY31" fmla="*/ 2522165 h 4015641"/>
              <a:gd name="connsiteX32" fmla="*/ 1697038 w 1697038"/>
              <a:gd name="connsiteY32" fmla="*/ 2563899 h 4015641"/>
              <a:gd name="connsiteX33" fmla="*/ 1697038 w 1697038"/>
              <a:gd name="connsiteY33" fmla="*/ 2575800 h 4015641"/>
              <a:gd name="connsiteX34" fmla="*/ 1697038 w 1697038"/>
              <a:gd name="connsiteY34" fmla="*/ 2614174 h 4015641"/>
              <a:gd name="connsiteX35" fmla="*/ 1697038 w 1697038"/>
              <a:gd name="connsiteY35" fmla="*/ 2634633 h 4015641"/>
              <a:gd name="connsiteX36" fmla="*/ 1697038 w 1697038"/>
              <a:gd name="connsiteY36" fmla="*/ 2635520 h 4015641"/>
              <a:gd name="connsiteX37" fmla="*/ 1697038 w 1697038"/>
              <a:gd name="connsiteY37" fmla="*/ 3408732 h 4015641"/>
              <a:gd name="connsiteX38" fmla="*/ 1602758 w 1697038"/>
              <a:gd name="connsiteY38" fmla="*/ 3550423 h 4015641"/>
              <a:gd name="connsiteX39" fmla="*/ 942799 w 1697038"/>
              <a:gd name="connsiteY39" fmla="*/ 3994388 h 4015641"/>
              <a:gd name="connsiteX40" fmla="*/ 763667 w 1697038"/>
              <a:gd name="connsiteY40" fmla="*/ 3994388 h 4015641"/>
              <a:gd name="connsiteX41" fmla="*/ 94280 w 1697038"/>
              <a:gd name="connsiteY41" fmla="*/ 3550423 h 4015641"/>
              <a:gd name="connsiteX42" fmla="*/ 0 w 1697038"/>
              <a:gd name="connsiteY42" fmla="*/ 3408732 h 4015641"/>
              <a:gd name="connsiteX43" fmla="*/ 0 w 1697038"/>
              <a:gd name="connsiteY43" fmla="*/ 2635520 h 4015641"/>
              <a:gd name="connsiteX44" fmla="*/ 0 w 1697038"/>
              <a:gd name="connsiteY44" fmla="*/ 2634633 h 4015641"/>
              <a:gd name="connsiteX45" fmla="*/ 0 w 1697038"/>
              <a:gd name="connsiteY45" fmla="*/ 2614174 h 4015641"/>
              <a:gd name="connsiteX46" fmla="*/ 0 w 1697038"/>
              <a:gd name="connsiteY46" fmla="*/ 2575800 h 4015641"/>
              <a:gd name="connsiteX47" fmla="*/ 0 w 1697038"/>
              <a:gd name="connsiteY47" fmla="*/ 2563899 h 4015641"/>
              <a:gd name="connsiteX48" fmla="*/ 0 w 1697038"/>
              <a:gd name="connsiteY48" fmla="*/ 2522165 h 4015641"/>
              <a:gd name="connsiteX49" fmla="*/ 0 w 1697038"/>
              <a:gd name="connsiteY49" fmla="*/ 2503570 h 4015641"/>
              <a:gd name="connsiteX50" fmla="*/ 0 w 1697038"/>
              <a:gd name="connsiteY50" fmla="*/ 2457188 h 4015641"/>
              <a:gd name="connsiteX51" fmla="*/ 0 w 1697038"/>
              <a:gd name="connsiteY51" fmla="*/ 2455923 h 4015641"/>
              <a:gd name="connsiteX52" fmla="*/ 0 w 1697038"/>
              <a:gd name="connsiteY52" fmla="*/ 2427411 h 4015641"/>
              <a:gd name="connsiteX53" fmla="*/ 0 w 1697038"/>
              <a:gd name="connsiteY53" fmla="*/ 2416895 h 4015641"/>
              <a:gd name="connsiteX54" fmla="*/ 0 w 1697038"/>
              <a:gd name="connsiteY54" fmla="*/ 2296235 h 4015641"/>
              <a:gd name="connsiteX55" fmla="*/ 0 w 1697038"/>
              <a:gd name="connsiteY55" fmla="*/ 1862178 h 4015641"/>
              <a:gd name="connsiteX56" fmla="*/ 0 w 1697038"/>
              <a:gd name="connsiteY56" fmla="*/ 1859988 h 4015641"/>
              <a:gd name="connsiteX57" fmla="*/ 0 w 1697038"/>
              <a:gd name="connsiteY57" fmla="*/ 1839635 h 4015641"/>
              <a:gd name="connsiteX58" fmla="*/ 0 w 1697038"/>
              <a:gd name="connsiteY58" fmla="*/ 1801558 h 4015641"/>
              <a:gd name="connsiteX59" fmla="*/ 0 w 1697038"/>
              <a:gd name="connsiteY59" fmla="*/ 1774399 h 4015641"/>
              <a:gd name="connsiteX60" fmla="*/ 0 w 1697038"/>
              <a:gd name="connsiteY60" fmla="*/ 1748386 h 4015641"/>
              <a:gd name="connsiteX61" fmla="*/ 0 w 1697038"/>
              <a:gd name="connsiteY61" fmla="*/ 1705282 h 4015641"/>
              <a:gd name="connsiteX62" fmla="*/ 0 w 1697038"/>
              <a:gd name="connsiteY62" fmla="*/ 1682744 h 4015641"/>
              <a:gd name="connsiteX63" fmla="*/ 0 w 1697038"/>
              <a:gd name="connsiteY63" fmla="*/ 1660010 h 4015641"/>
              <a:gd name="connsiteX64" fmla="*/ 0 w 1697038"/>
              <a:gd name="connsiteY64" fmla="*/ 1643768 h 4015641"/>
              <a:gd name="connsiteX65" fmla="*/ 0 w 1697038"/>
              <a:gd name="connsiteY65" fmla="*/ 1524559 h 4015641"/>
              <a:gd name="connsiteX66" fmla="*/ 0 w 1697038"/>
              <a:gd name="connsiteY66" fmla="*/ 1303474 h 4015641"/>
              <a:gd name="connsiteX67" fmla="*/ 0 w 1697038"/>
              <a:gd name="connsiteY67" fmla="*/ 1095744 h 4015641"/>
              <a:gd name="connsiteX68" fmla="*/ 0 w 1697038"/>
              <a:gd name="connsiteY68" fmla="*/ 1094743 h 4015641"/>
              <a:gd name="connsiteX69" fmla="*/ 0 w 1697038"/>
              <a:gd name="connsiteY69" fmla="*/ 1073708 h 4015641"/>
              <a:gd name="connsiteX70" fmla="*/ 0 w 1697038"/>
              <a:gd name="connsiteY70" fmla="*/ 1034141 h 4015641"/>
              <a:gd name="connsiteX71" fmla="*/ 0 w 1697038"/>
              <a:gd name="connsiteY71" fmla="*/ 1007836 h 4015641"/>
              <a:gd name="connsiteX72" fmla="*/ 0 w 1697038"/>
              <a:gd name="connsiteY72" fmla="*/ 939409 h 4015641"/>
              <a:gd name="connsiteX73" fmla="*/ 0 w 1697038"/>
              <a:gd name="connsiteY73" fmla="*/ 912874 h 4015641"/>
              <a:gd name="connsiteX74" fmla="*/ 0 w 1697038"/>
              <a:gd name="connsiteY74" fmla="*/ 894590 h 4015641"/>
              <a:gd name="connsiteX75" fmla="*/ 0 w 1697038"/>
              <a:gd name="connsiteY75" fmla="*/ 878510 h 4015641"/>
              <a:gd name="connsiteX76" fmla="*/ 0 w 1697038"/>
              <a:gd name="connsiteY76" fmla="*/ 752863 h 4015641"/>
              <a:gd name="connsiteX77" fmla="*/ 0 w 1697038"/>
              <a:gd name="connsiteY77" fmla="*/ 103907 h 4015641"/>
              <a:gd name="connsiteX78" fmla="*/ 113136 w 1697038"/>
              <a:gd name="connsiteY78" fmla="*/ 0 h 4015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1697038" h="4015641">
                <a:moveTo>
                  <a:pt x="113136" y="0"/>
                </a:moveTo>
                <a:lnTo>
                  <a:pt x="1583902" y="0"/>
                </a:lnTo>
                <a:cubicBezTo>
                  <a:pt x="1649898" y="0"/>
                  <a:pt x="1697038" y="47230"/>
                  <a:pt x="1697038" y="103907"/>
                </a:cubicBezTo>
                <a:cubicBezTo>
                  <a:pt x="1697038" y="103907"/>
                  <a:pt x="1697038" y="465514"/>
                  <a:pt x="1697038" y="752863"/>
                </a:cubicBezTo>
                <a:lnTo>
                  <a:pt x="1697038" y="878510"/>
                </a:lnTo>
                <a:cubicBezTo>
                  <a:pt x="1697038" y="878510"/>
                  <a:pt x="1697038" y="884155"/>
                  <a:pt x="1697038" y="894590"/>
                </a:cubicBezTo>
                <a:lnTo>
                  <a:pt x="1697038" y="912874"/>
                </a:lnTo>
                <a:lnTo>
                  <a:pt x="1697038" y="939409"/>
                </a:lnTo>
                <a:cubicBezTo>
                  <a:pt x="1697038" y="958568"/>
                  <a:pt x="1697038" y="981662"/>
                  <a:pt x="1697038" y="1007836"/>
                </a:cubicBezTo>
                <a:lnTo>
                  <a:pt x="1697038" y="1034141"/>
                </a:lnTo>
                <a:lnTo>
                  <a:pt x="1697038" y="1073708"/>
                </a:lnTo>
                <a:lnTo>
                  <a:pt x="1697038" y="1094743"/>
                </a:lnTo>
                <a:lnTo>
                  <a:pt x="1697038" y="1095744"/>
                </a:lnTo>
                <a:lnTo>
                  <a:pt x="1697038" y="1303474"/>
                </a:lnTo>
                <a:cubicBezTo>
                  <a:pt x="1697038" y="1377390"/>
                  <a:pt x="1697038" y="1453365"/>
                  <a:pt x="1697038" y="1524559"/>
                </a:cubicBezTo>
                <a:lnTo>
                  <a:pt x="1697038" y="1643768"/>
                </a:lnTo>
                <a:cubicBezTo>
                  <a:pt x="1697038" y="1643768"/>
                  <a:pt x="1697038" y="1649470"/>
                  <a:pt x="1697038" y="1660010"/>
                </a:cubicBezTo>
                <a:lnTo>
                  <a:pt x="1697038" y="1682744"/>
                </a:lnTo>
                <a:lnTo>
                  <a:pt x="1697038" y="1705282"/>
                </a:lnTo>
                <a:lnTo>
                  <a:pt x="1697038" y="1748386"/>
                </a:lnTo>
                <a:lnTo>
                  <a:pt x="1697038" y="1774399"/>
                </a:lnTo>
                <a:lnTo>
                  <a:pt x="1697038" y="1801558"/>
                </a:lnTo>
                <a:lnTo>
                  <a:pt x="1697038" y="1839635"/>
                </a:lnTo>
                <a:lnTo>
                  <a:pt x="1697038" y="1859988"/>
                </a:lnTo>
                <a:lnTo>
                  <a:pt x="1697038" y="1862178"/>
                </a:lnTo>
                <a:cubicBezTo>
                  <a:pt x="1697038" y="1989354"/>
                  <a:pt x="1697038" y="2152471"/>
                  <a:pt x="1697038" y="2296235"/>
                </a:cubicBezTo>
                <a:lnTo>
                  <a:pt x="1697038" y="2416895"/>
                </a:lnTo>
                <a:cubicBezTo>
                  <a:pt x="1697038" y="2416895"/>
                  <a:pt x="1697038" y="2420548"/>
                  <a:pt x="1697038" y="2427411"/>
                </a:cubicBezTo>
                <a:lnTo>
                  <a:pt x="1697038" y="2455923"/>
                </a:lnTo>
                <a:lnTo>
                  <a:pt x="1697038" y="2457188"/>
                </a:lnTo>
                <a:cubicBezTo>
                  <a:pt x="1697038" y="2470029"/>
                  <a:pt x="1697038" y="2485637"/>
                  <a:pt x="1697038" y="2503570"/>
                </a:cubicBezTo>
                <a:lnTo>
                  <a:pt x="1697038" y="2522165"/>
                </a:lnTo>
                <a:lnTo>
                  <a:pt x="1697038" y="2563899"/>
                </a:lnTo>
                <a:lnTo>
                  <a:pt x="1697038" y="2575800"/>
                </a:lnTo>
                <a:lnTo>
                  <a:pt x="1697038" y="2614174"/>
                </a:lnTo>
                <a:lnTo>
                  <a:pt x="1697038" y="2634633"/>
                </a:lnTo>
                <a:lnTo>
                  <a:pt x="1697038" y="2635520"/>
                </a:lnTo>
                <a:cubicBezTo>
                  <a:pt x="1697038" y="2915581"/>
                  <a:pt x="1697038" y="3369767"/>
                  <a:pt x="1697038" y="3408732"/>
                </a:cubicBezTo>
                <a:cubicBezTo>
                  <a:pt x="1697038" y="3465408"/>
                  <a:pt x="1668754" y="3503193"/>
                  <a:pt x="1602758" y="3550423"/>
                </a:cubicBezTo>
                <a:cubicBezTo>
                  <a:pt x="1536762" y="3597653"/>
                  <a:pt x="942799" y="3994388"/>
                  <a:pt x="942799" y="3994388"/>
                </a:cubicBezTo>
                <a:cubicBezTo>
                  <a:pt x="895659" y="4022726"/>
                  <a:pt x="810807" y="4022726"/>
                  <a:pt x="763667" y="3994388"/>
                </a:cubicBezTo>
                <a:cubicBezTo>
                  <a:pt x="763667" y="3994388"/>
                  <a:pt x="160276" y="3597653"/>
                  <a:pt x="94280" y="3550423"/>
                </a:cubicBezTo>
                <a:cubicBezTo>
                  <a:pt x="28284" y="3503193"/>
                  <a:pt x="0" y="3465408"/>
                  <a:pt x="0" y="3408732"/>
                </a:cubicBezTo>
                <a:cubicBezTo>
                  <a:pt x="0" y="3369767"/>
                  <a:pt x="0" y="2915581"/>
                  <a:pt x="0" y="2635520"/>
                </a:cubicBezTo>
                <a:lnTo>
                  <a:pt x="0" y="2634633"/>
                </a:lnTo>
                <a:lnTo>
                  <a:pt x="0" y="2614174"/>
                </a:lnTo>
                <a:lnTo>
                  <a:pt x="0" y="2575800"/>
                </a:lnTo>
                <a:lnTo>
                  <a:pt x="0" y="2563899"/>
                </a:lnTo>
                <a:lnTo>
                  <a:pt x="0" y="2522165"/>
                </a:lnTo>
                <a:lnTo>
                  <a:pt x="0" y="2503570"/>
                </a:lnTo>
                <a:cubicBezTo>
                  <a:pt x="0" y="2485637"/>
                  <a:pt x="0" y="2470029"/>
                  <a:pt x="0" y="2457188"/>
                </a:cubicBezTo>
                <a:lnTo>
                  <a:pt x="0" y="2455923"/>
                </a:lnTo>
                <a:lnTo>
                  <a:pt x="0" y="2427411"/>
                </a:lnTo>
                <a:cubicBezTo>
                  <a:pt x="0" y="2420548"/>
                  <a:pt x="0" y="2416895"/>
                  <a:pt x="0" y="2416895"/>
                </a:cubicBezTo>
                <a:lnTo>
                  <a:pt x="0" y="2296235"/>
                </a:lnTo>
                <a:cubicBezTo>
                  <a:pt x="0" y="2152471"/>
                  <a:pt x="0" y="1989354"/>
                  <a:pt x="0" y="1862178"/>
                </a:cubicBezTo>
                <a:lnTo>
                  <a:pt x="0" y="1859988"/>
                </a:lnTo>
                <a:lnTo>
                  <a:pt x="0" y="1839635"/>
                </a:lnTo>
                <a:lnTo>
                  <a:pt x="0" y="1801558"/>
                </a:lnTo>
                <a:lnTo>
                  <a:pt x="0" y="1774399"/>
                </a:lnTo>
                <a:lnTo>
                  <a:pt x="0" y="1748386"/>
                </a:lnTo>
                <a:lnTo>
                  <a:pt x="0" y="1705282"/>
                </a:lnTo>
                <a:lnTo>
                  <a:pt x="0" y="1682744"/>
                </a:lnTo>
                <a:lnTo>
                  <a:pt x="0" y="1660010"/>
                </a:lnTo>
                <a:cubicBezTo>
                  <a:pt x="0" y="1649470"/>
                  <a:pt x="0" y="1643768"/>
                  <a:pt x="0" y="1643768"/>
                </a:cubicBezTo>
                <a:lnTo>
                  <a:pt x="0" y="1524559"/>
                </a:lnTo>
                <a:cubicBezTo>
                  <a:pt x="0" y="1453365"/>
                  <a:pt x="0" y="1377390"/>
                  <a:pt x="0" y="1303474"/>
                </a:cubicBezTo>
                <a:lnTo>
                  <a:pt x="0" y="1095744"/>
                </a:lnTo>
                <a:lnTo>
                  <a:pt x="0" y="1094743"/>
                </a:lnTo>
                <a:lnTo>
                  <a:pt x="0" y="1073708"/>
                </a:lnTo>
                <a:lnTo>
                  <a:pt x="0" y="1034141"/>
                </a:lnTo>
                <a:lnTo>
                  <a:pt x="0" y="1007836"/>
                </a:lnTo>
                <a:cubicBezTo>
                  <a:pt x="0" y="981662"/>
                  <a:pt x="0" y="958568"/>
                  <a:pt x="0" y="939409"/>
                </a:cubicBezTo>
                <a:lnTo>
                  <a:pt x="0" y="912874"/>
                </a:lnTo>
                <a:lnTo>
                  <a:pt x="0" y="894590"/>
                </a:lnTo>
                <a:cubicBezTo>
                  <a:pt x="0" y="884155"/>
                  <a:pt x="0" y="878510"/>
                  <a:pt x="0" y="878510"/>
                </a:cubicBezTo>
                <a:lnTo>
                  <a:pt x="0" y="752863"/>
                </a:lnTo>
                <a:cubicBezTo>
                  <a:pt x="0" y="465514"/>
                  <a:pt x="0" y="103907"/>
                  <a:pt x="0" y="103907"/>
                </a:cubicBezTo>
                <a:cubicBezTo>
                  <a:pt x="0" y="47230"/>
                  <a:pt x="56568" y="0"/>
                  <a:pt x="113136" y="0"/>
                </a:cubicBezTo>
                <a:close/>
              </a:path>
            </a:pathLst>
          </a:cu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B53F905A-0C30-4AC3-AABA-62C3CD34A2C0}"/>
              </a:ext>
            </a:extLst>
          </p:cNvPr>
          <p:cNvSpPr/>
          <p:nvPr/>
        </p:nvSpPr>
        <p:spPr>
          <a:xfrm>
            <a:off x="5147404" y="3268879"/>
            <a:ext cx="739337" cy="7393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58AFAA81-DB59-41D6-BFCC-8CA0BC04B24C}"/>
              </a:ext>
            </a:extLst>
          </p:cNvPr>
          <p:cNvSpPr/>
          <p:nvPr/>
        </p:nvSpPr>
        <p:spPr bwMode="auto">
          <a:xfrm>
            <a:off x="5343461" y="3471529"/>
            <a:ext cx="347224" cy="334037"/>
          </a:xfrm>
          <a:custGeom>
            <a:avLst/>
            <a:gdLst>
              <a:gd name="connsiteX0" fmla="*/ 195114 w 608814"/>
              <a:gd name="connsiteY0" fmla="*/ 351627 h 585693"/>
              <a:gd name="connsiteX1" fmla="*/ 258290 w 608814"/>
              <a:gd name="connsiteY1" fmla="*/ 351627 h 585693"/>
              <a:gd name="connsiteX2" fmla="*/ 282731 w 608814"/>
              <a:gd name="connsiteY2" fmla="*/ 376018 h 585693"/>
              <a:gd name="connsiteX3" fmla="*/ 282731 w 608814"/>
              <a:gd name="connsiteY3" fmla="*/ 561210 h 585693"/>
              <a:gd name="connsiteX4" fmla="*/ 258290 w 608814"/>
              <a:gd name="connsiteY4" fmla="*/ 585693 h 585693"/>
              <a:gd name="connsiteX5" fmla="*/ 195114 w 608814"/>
              <a:gd name="connsiteY5" fmla="*/ 585693 h 585693"/>
              <a:gd name="connsiteX6" fmla="*/ 170673 w 608814"/>
              <a:gd name="connsiteY6" fmla="*/ 561210 h 585693"/>
              <a:gd name="connsiteX7" fmla="*/ 170673 w 608814"/>
              <a:gd name="connsiteY7" fmla="*/ 376018 h 585693"/>
              <a:gd name="connsiteX8" fmla="*/ 195114 w 608814"/>
              <a:gd name="connsiteY8" fmla="*/ 351627 h 585693"/>
              <a:gd name="connsiteX9" fmla="*/ 358100 w 608814"/>
              <a:gd name="connsiteY9" fmla="*/ 249872 h 585693"/>
              <a:gd name="connsiteX10" fmla="*/ 421316 w 608814"/>
              <a:gd name="connsiteY10" fmla="*/ 249872 h 585693"/>
              <a:gd name="connsiteX11" fmla="*/ 445737 w 608814"/>
              <a:gd name="connsiteY11" fmla="*/ 274267 h 585693"/>
              <a:gd name="connsiteX12" fmla="*/ 445737 w 608814"/>
              <a:gd name="connsiteY12" fmla="*/ 561206 h 585693"/>
              <a:gd name="connsiteX13" fmla="*/ 421316 w 608814"/>
              <a:gd name="connsiteY13" fmla="*/ 585693 h 585693"/>
              <a:gd name="connsiteX14" fmla="*/ 358100 w 608814"/>
              <a:gd name="connsiteY14" fmla="*/ 585693 h 585693"/>
              <a:gd name="connsiteX15" fmla="*/ 333679 w 608814"/>
              <a:gd name="connsiteY15" fmla="*/ 561206 h 585693"/>
              <a:gd name="connsiteX16" fmla="*/ 333679 w 608814"/>
              <a:gd name="connsiteY16" fmla="*/ 274267 h 585693"/>
              <a:gd name="connsiteX17" fmla="*/ 358100 w 608814"/>
              <a:gd name="connsiteY17" fmla="*/ 249872 h 585693"/>
              <a:gd name="connsiteX18" fmla="*/ 140260 w 608814"/>
              <a:gd name="connsiteY18" fmla="*/ 224680 h 585693"/>
              <a:gd name="connsiteX19" fmla="*/ 191844 w 608814"/>
              <a:gd name="connsiteY19" fmla="*/ 276122 h 585693"/>
              <a:gd name="connsiteX20" fmla="*/ 140260 w 608814"/>
              <a:gd name="connsiteY20" fmla="*/ 327564 h 585693"/>
              <a:gd name="connsiteX21" fmla="*/ 88676 w 608814"/>
              <a:gd name="connsiteY21" fmla="*/ 276122 h 585693"/>
              <a:gd name="connsiteX22" fmla="*/ 140260 w 608814"/>
              <a:gd name="connsiteY22" fmla="*/ 224680 h 585693"/>
              <a:gd name="connsiteX23" fmla="*/ 521177 w 608814"/>
              <a:gd name="connsiteY23" fmla="*/ 148117 h 585693"/>
              <a:gd name="connsiteX24" fmla="*/ 584301 w 608814"/>
              <a:gd name="connsiteY24" fmla="*/ 148117 h 585693"/>
              <a:gd name="connsiteX25" fmla="*/ 608814 w 608814"/>
              <a:gd name="connsiteY25" fmla="*/ 172601 h 585693"/>
              <a:gd name="connsiteX26" fmla="*/ 608814 w 608814"/>
              <a:gd name="connsiteY26" fmla="*/ 561209 h 585693"/>
              <a:gd name="connsiteX27" fmla="*/ 584301 w 608814"/>
              <a:gd name="connsiteY27" fmla="*/ 585693 h 585693"/>
              <a:gd name="connsiteX28" fmla="*/ 521177 w 608814"/>
              <a:gd name="connsiteY28" fmla="*/ 585693 h 585693"/>
              <a:gd name="connsiteX29" fmla="*/ 496756 w 608814"/>
              <a:gd name="connsiteY29" fmla="*/ 561209 h 585693"/>
              <a:gd name="connsiteX30" fmla="*/ 496756 w 608814"/>
              <a:gd name="connsiteY30" fmla="*/ 172601 h 585693"/>
              <a:gd name="connsiteX31" fmla="*/ 521177 w 608814"/>
              <a:gd name="connsiteY31" fmla="*/ 148117 h 585693"/>
              <a:gd name="connsiteX32" fmla="*/ 116229 w 608814"/>
              <a:gd name="connsiteY32" fmla="*/ 131322 h 585693"/>
              <a:gd name="connsiteX33" fmla="*/ 164246 w 608814"/>
              <a:gd name="connsiteY33" fmla="*/ 131322 h 585693"/>
              <a:gd name="connsiteX34" fmla="*/ 184061 w 608814"/>
              <a:gd name="connsiteY34" fmla="*/ 151113 h 585693"/>
              <a:gd name="connsiteX35" fmla="*/ 184061 w 608814"/>
              <a:gd name="connsiteY35" fmla="*/ 171457 h 585693"/>
              <a:gd name="connsiteX36" fmla="*/ 208669 w 608814"/>
              <a:gd name="connsiteY36" fmla="*/ 186094 h 585693"/>
              <a:gd name="connsiteX37" fmla="*/ 226641 w 608814"/>
              <a:gd name="connsiteY37" fmla="*/ 175692 h 585693"/>
              <a:gd name="connsiteX38" fmla="*/ 253737 w 608814"/>
              <a:gd name="connsiteY38" fmla="*/ 182964 h 585693"/>
              <a:gd name="connsiteX39" fmla="*/ 277792 w 608814"/>
              <a:gd name="connsiteY39" fmla="*/ 224572 h 585693"/>
              <a:gd name="connsiteX40" fmla="*/ 279727 w 608814"/>
              <a:gd name="connsiteY40" fmla="*/ 239577 h 585693"/>
              <a:gd name="connsiteX41" fmla="*/ 270511 w 608814"/>
              <a:gd name="connsiteY41" fmla="*/ 251544 h 585693"/>
              <a:gd name="connsiteX42" fmla="*/ 252355 w 608814"/>
              <a:gd name="connsiteY42" fmla="*/ 262038 h 585693"/>
              <a:gd name="connsiteX43" fmla="*/ 253829 w 608814"/>
              <a:gd name="connsiteY43" fmla="*/ 276122 h 585693"/>
              <a:gd name="connsiteX44" fmla="*/ 252355 w 608814"/>
              <a:gd name="connsiteY44" fmla="*/ 290206 h 585693"/>
              <a:gd name="connsiteX45" fmla="*/ 270511 w 608814"/>
              <a:gd name="connsiteY45" fmla="*/ 300700 h 585693"/>
              <a:gd name="connsiteX46" fmla="*/ 278714 w 608814"/>
              <a:gd name="connsiteY46" fmla="*/ 325094 h 585693"/>
              <a:gd name="connsiteX47" fmla="*/ 258253 w 608814"/>
              <a:gd name="connsiteY47" fmla="*/ 321136 h 585693"/>
              <a:gd name="connsiteX48" fmla="*/ 195858 w 608814"/>
              <a:gd name="connsiteY48" fmla="*/ 321136 h 585693"/>
              <a:gd name="connsiteX49" fmla="*/ 212171 w 608814"/>
              <a:gd name="connsiteY49" fmla="*/ 276122 h 585693"/>
              <a:gd name="connsiteX50" fmla="*/ 140191 w 608814"/>
              <a:gd name="connsiteY50" fmla="*/ 204320 h 585693"/>
              <a:gd name="connsiteX51" fmla="*/ 68304 w 608814"/>
              <a:gd name="connsiteY51" fmla="*/ 276122 h 585693"/>
              <a:gd name="connsiteX52" fmla="*/ 140191 w 608814"/>
              <a:gd name="connsiteY52" fmla="*/ 348016 h 585693"/>
              <a:gd name="connsiteX53" fmla="*/ 148486 w 608814"/>
              <a:gd name="connsiteY53" fmla="*/ 347095 h 585693"/>
              <a:gd name="connsiteX54" fmla="*/ 140099 w 608814"/>
              <a:gd name="connsiteY54" fmla="*/ 376000 h 585693"/>
              <a:gd name="connsiteX55" fmla="*/ 140099 w 608814"/>
              <a:gd name="connsiteY55" fmla="*/ 420922 h 585693"/>
              <a:gd name="connsiteX56" fmla="*/ 116229 w 608814"/>
              <a:gd name="connsiteY56" fmla="*/ 420922 h 585693"/>
              <a:gd name="connsiteX57" fmla="*/ 96413 w 608814"/>
              <a:gd name="connsiteY57" fmla="*/ 401131 h 585693"/>
              <a:gd name="connsiteX58" fmla="*/ 96413 w 608814"/>
              <a:gd name="connsiteY58" fmla="*/ 380787 h 585693"/>
              <a:gd name="connsiteX59" fmla="*/ 71806 w 608814"/>
              <a:gd name="connsiteY59" fmla="*/ 366150 h 585693"/>
              <a:gd name="connsiteX60" fmla="*/ 53742 w 608814"/>
              <a:gd name="connsiteY60" fmla="*/ 376552 h 585693"/>
              <a:gd name="connsiteX61" fmla="*/ 38719 w 608814"/>
              <a:gd name="connsiteY61" fmla="*/ 378577 h 585693"/>
              <a:gd name="connsiteX62" fmla="*/ 26738 w 608814"/>
              <a:gd name="connsiteY62" fmla="*/ 369372 h 585693"/>
              <a:gd name="connsiteX63" fmla="*/ 2683 w 608814"/>
              <a:gd name="connsiteY63" fmla="*/ 327764 h 585693"/>
              <a:gd name="connsiteX64" fmla="*/ 9872 w 608814"/>
              <a:gd name="connsiteY64" fmla="*/ 300700 h 585693"/>
              <a:gd name="connsiteX65" fmla="*/ 28120 w 608814"/>
              <a:gd name="connsiteY65" fmla="*/ 290206 h 585693"/>
              <a:gd name="connsiteX66" fmla="*/ 26645 w 608814"/>
              <a:gd name="connsiteY66" fmla="*/ 276122 h 585693"/>
              <a:gd name="connsiteX67" fmla="*/ 28120 w 608814"/>
              <a:gd name="connsiteY67" fmla="*/ 262038 h 585693"/>
              <a:gd name="connsiteX68" fmla="*/ 9872 w 608814"/>
              <a:gd name="connsiteY68" fmla="*/ 251544 h 585693"/>
              <a:gd name="connsiteX69" fmla="*/ 2683 w 608814"/>
              <a:gd name="connsiteY69" fmla="*/ 224572 h 585693"/>
              <a:gd name="connsiteX70" fmla="*/ 26738 w 608814"/>
              <a:gd name="connsiteY70" fmla="*/ 182964 h 585693"/>
              <a:gd name="connsiteX71" fmla="*/ 38719 w 608814"/>
              <a:gd name="connsiteY71" fmla="*/ 173759 h 585693"/>
              <a:gd name="connsiteX72" fmla="*/ 53742 w 608814"/>
              <a:gd name="connsiteY72" fmla="*/ 175692 h 585693"/>
              <a:gd name="connsiteX73" fmla="*/ 71806 w 608814"/>
              <a:gd name="connsiteY73" fmla="*/ 186094 h 585693"/>
              <a:gd name="connsiteX74" fmla="*/ 96413 w 608814"/>
              <a:gd name="connsiteY74" fmla="*/ 171457 h 585693"/>
              <a:gd name="connsiteX75" fmla="*/ 96413 w 608814"/>
              <a:gd name="connsiteY75" fmla="*/ 151113 h 585693"/>
              <a:gd name="connsiteX76" fmla="*/ 116229 w 608814"/>
              <a:gd name="connsiteY76" fmla="*/ 131322 h 585693"/>
              <a:gd name="connsiteX77" fmla="*/ 445756 w 608814"/>
              <a:gd name="connsiteY77" fmla="*/ 83476 h 585693"/>
              <a:gd name="connsiteX78" fmla="*/ 414140 w 608814"/>
              <a:gd name="connsiteY78" fmla="*/ 115044 h 585693"/>
              <a:gd name="connsiteX79" fmla="*/ 445756 w 608814"/>
              <a:gd name="connsiteY79" fmla="*/ 146520 h 585693"/>
              <a:gd name="connsiteX80" fmla="*/ 477371 w 608814"/>
              <a:gd name="connsiteY80" fmla="*/ 115044 h 585693"/>
              <a:gd name="connsiteX81" fmla="*/ 445756 w 608814"/>
              <a:gd name="connsiteY81" fmla="*/ 83476 h 585693"/>
              <a:gd name="connsiteX82" fmla="*/ 426676 w 608814"/>
              <a:gd name="connsiteY82" fmla="*/ 0 h 585693"/>
              <a:gd name="connsiteX83" fmla="*/ 464835 w 608814"/>
              <a:gd name="connsiteY83" fmla="*/ 0 h 585693"/>
              <a:gd name="connsiteX84" fmla="*/ 480597 w 608814"/>
              <a:gd name="connsiteY84" fmla="*/ 15738 h 585693"/>
              <a:gd name="connsiteX85" fmla="*/ 480597 w 608814"/>
              <a:gd name="connsiteY85" fmla="*/ 31936 h 585693"/>
              <a:gd name="connsiteX86" fmla="*/ 500138 w 608814"/>
              <a:gd name="connsiteY86" fmla="*/ 43533 h 585693"/>
              <a:gd name="connsiteX87" fmla="*/ 514425 w 608814"/>
              <a:gd name="connsiteY87" fmla="*/ 35249 h 585693"/>
              <a:gd name="connsiteX88" fmla="*/ 535901 w 608814"/>
              <a:gd name="connsiteY88" fmla="*/ 40956 h 585693"/>
              <a:gd name="connsiteX89" fmla="*/ 554981 w 608814"/>
              <a:gd name="connsiteY89" fmla="*/ 73996 h 585693"/>
              <a:gd name="connsiteX90" fmla="*/ 556640 w 608814"/>
              <a:gd name="connsiteY90" fmla="*/ 85961 h 585693"/>
              <a:gd name="connsiteX91" fmla="*/ 549266 w 608814"/>
              <a:gd name="connsiteY91" fmla="*/ 95440 h 585693"/>
              <a:gd name="connsiteX92" fmla="*/ 534887 w 608814"/>
              <a:gd name="connsiteY92" fmla="*/ 103815 h 585693"/>
              <a:gd name="connsiteX93" fmla="*/ 535993 w 608814"/>
              <a:gd name="connsiteY93" fmla="*/ 115044 h 585693"/>
              <a:gd name="connsiteX94" fmla="*/ 535717 w 608814"/>
              <a:gd name="connsiteY94" fmla="*/ 117621 h 585693"/>
              <a:gd name="connsiteX95" fmla="*/ 521153 w 608814"/>
              <a:gd name="connsiteY95" fmla="*/ 117621 h 585693"/>
              <a:gd name="connsiteX96" fmla="*/ 466126 w 608814"/>
              <a:gd name="connsiteY96" fmla="*/ 172565 h 585693"/>
              <a:gd name="connsiteX97" fmla="*/ 466126 w 608814"/>
              <a:gd name="connsiteY97" fmla="*/ 229719 h 585693"/>
              <a:gd name="connsiteX98" fmla="*/ 466126 w 608814"/>
              <a:gd name="connsiteY98" fmla="*/ 242604 h 585693"/>
              <a:gd name="connsiteX99" fmla="*/ 453590 w 608814"/>
              <a:gd name="connsiteY99" fmla="*/ 229995 h 585693"/>
              <a:gd name="connsiteX100" fmla="*/ 421330 w 608814"/>
              <a:gd name="connsiteY100" fmla="*/ 219319 h 585693"/>
              <a:gd name="connsiteX101" fmla="*/ 411928 w 608814"/>
              <a:gd name="connsiteY101" fmla="*/ 219319 h 585693"/>
              <a:gd name="connsiteX102" fmla="*/ 410914 w 608814"/>
              <a:gd name="connsiteY102" fmla="*/ 214257 h 585693"/>
              <a:gd name="connsiteX103" fmla="*/ 410914 w 608814"/>
              <a:gd name="connsiteY103" fmla="*/ 198059 h 585693"/>
              <a:gd name="connsiteX104" fmla="*/ 391373 w 608814"/>
              <a:gd name="connsiteY104" fmla="*/ 186463 h 585693"/>
              <a:gd name="connsiteX105" fmla="*/ 377086 w 608814"/>
              <a:gd name="connsiteY105" fmla="*/ 194746 h 585693"/>
              <a:gd name="connsiteX106" fmla="*/ 365104 w 608814"/>
              <a:gd name="connsiteY106" fmla="*/ 196310 h 585693"/>
              <a:gd name="connsiteX107" fmla="*/ 355610 w 608814"/>
              <a:gd name="connsiteY107" fmla="*/ 189040 h 585693"/>
              <a:gd name="connsiteX108" fmla="*/ 336530 w 608814"/>
              <a:gd name="connsiteY108" fmla="*/ 155999 h 585693"/>
              <a:gd name="connsiteX109" fmla="*/ 342245 w 608814"/>
              <a:gd name="connsiteY109" fmla="*/ 134463 h 585693"/>
              <a:gd name="connsiteX110" fmla="*/ 356716 w 608814"/>
              <a:gd name="connsiteY110" fmla="*/ 126180 h 585693"/>
              <a:gd name="connsiteX111" fmla="*/ 355518 w 608814"/>
              <a:gd name="connsiteY111" fmla="*/ 115044 h 585693"/>
              <a:gd name="connsiteX112" fmla="*/ 356716 w 608814"/>
              <a:gd name="connsiteY112" fmla="*/ 103815 h 585693"/>
              <a:gd name="connsiteX113" fmla="*/ 342245 w 608814"/>
              <a:gd name="connsiteY113" fmla="*/ 95440 h 585693"/>
              <a:gd name="connsiteX114" fmla="*/ 336530 w 608814"/>
              <a:gd name="connsiteY114" fmla="*/ 73996 h 585693"/>
              <a:gd name="connsiteX115" fmla="*/ 355610 w 608814"/>
              <a:gd name="connsiteY115" fmla="*/ 40956 h 585693"/>
              <a:gd name="connsiteX116" fmla="*/ 365104 w 608814"/>
              <a:gd name="connsiteY116" fmla="*/ 33685 h 585693"/>
              <a:gd name="connsiteX117" fmla="*/ 377086 w 608814"/>
              <a:gd name="connsiteY117" fmla="*/ 35249 h 585693"/>
              <a:gd name="connsiteX118" fmla="*/ 391373 w 608814"/>
              <a:gd name="connsiteY118" fmla="*/ 43533 h 585693"/>
              <a:gd name="connsiteX119" fmla="*/ 410914 w 608814"/>
              <a:gd name="connsiteY119" fmla="*/ 31936 h 585693"/>
              <a:gd name="connsiteX120" fmla="*/ 410914 w 608814"/>
              <a:gd name="connsiteY120" fmla="*/ 15738 h 585693"/>
              <a:gd name="connsiteX121" fmla="*/ 426676 w 608814"/>
              <a:gd name="connsiteY121" fmla="*/ 0 h 585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608814" h="585693">
                <a:moveTo>
                  <a:pt x="195114" y="351627"/>
                </a:moveTo>
                <a:lnTo>
                  <a:pt x="258290" y="351627"/>
                </a:lnTo>
                <a:cubicBezTo>
                  <a:pt x="271848" y="351627"/>
                  <a:pt x="282731" y="362580"/>
                  <a:pt x="282731" y="376018"/>
                </a:cubicBezTo>
                <a:lnTo>
                  <a:pt x="282731" y="561210"/>
                </a:lnTo>
                <a:cubicBezTo>
                  <a:pt x="282731" y="574740"/>
                  <a:pt x="271848" y="585693"/>
                  <a:pt x="258290" y="585693"/>
                </a:cubicBezTo>
                <a:lnTo>
                  <a:pt x="195114" y="585693"/>
                </a:lnTo>
                <a:cubicBezTo>
                  <a:pt x="181556" y="585693"/>
                  <a:pt x="170673" y="574740"/>
                  <a:pt x="170673" y="561210"/>
                </a:cubicBezTo>
                <a:lnTo>
                  <a:pt x="170673" y="376018"/>
                </a:lnTo>
                <a:cubicBezTo>
                  <a:pt x="170673" y="362580"/>
                  <a:pt x="181556" y="351627"/>
                  <a:pt x="195114" y="351627"/>
                </a:cubicBezTo>
                <a:close/>
                <a:moveTo>
                  <a:pt x="358100" y="249872"/>
                </a:moveTo>
                <a:lnTo>
                  <a:pt x="421316" y="249872"/>
                </a:lnTo>
                <a:cubicBezTo>
                  <a:pt x="434771" y="249872"/>
                  <a:pt x="445737" y="260735"/>
                  <a:pt x="445737" y="274267"/>
                </a:cubicBezTo>
                <a:lnTo>
                  <a:pt x="445737" y="561206"/>
                </a:lnTo>
                <a:cubicBezTo>
                  <a:pt x="445737" y="574738"/>
                  <a:pt x="434771" y="585693"/>
                  <a:pt x="421316" y="585693"/>
                </a:cubicBezTo>
                <a:lnTo>
                  <a:pt x="358100" y="585693"/>
                </a:lnTo>
                <a:cubicBezTo>
                  <a:pt x="344645" y="585693"/>
                  <a:pt x="333679" y="574738"/>
                  <a:pt x="333679" y="561206"/>
                </a:cubicBezTo>
                <a:lnTo>
                  <a:pt x="333679" y="274267"/>
                </a:lnTo>
                <a:cubicBezTo>
                  <a:pt x="333679" y="260735"/>
                  <a:pt x="344645" y="249872"/>
                  <a:pt x="358100" y="249872"/>
                </a:cubicBezTo>
                <a:close/>
                <a:moveTo>
                  <a:pt x="140260" y="224680"/>
                </a:moveTo>
                <a:cubicBezTo>
                  <a:pt x="168749" y="224680"/>
                  <a:pt x="191844" y="247711"/>
                  <a:pt x="191844" y="276122"/>
                </a:cubicBezTo>
                <a:cubicBezTo>
                  <a:pt x="191844" y="304533"/>
                  <a:pt x="168749" y="327564"/>
                  <a:pt x="140260" y="327564"/>
                </a:cubicBezTo>
                <a:cubicBezTo>
                  <a:pt x="111771" y="327564"/>
                  <a:pt x="88676" y="304533"/>
                  <a:pt x="88676" y="276122"/>
                </a:cubicBezTo>
                <a:cubicBezTo>
                  <a:pt x="88676" y="247711"/>
                  <a:pt x="111771" y="224680"/>
                  <a:pt x="140260" y="224680"/>
                </a:cubicBezTo>
                <a:close/>
                <a:moveTo>
                  <a:pt x="521177" y="148117"/>
                </a:moveTo>
                <a:lnTo>
                  <a:pt x="584301" y="148117"/>
                </a:lnTo>
                <a:cubicBezTo>
                  <a:pt x="597848" y="148117"/>
                  <a:pt x="608814" y="159070"/>
                  <a:pt x="608814" y="172601"/>
                </a:cubicBezTo>
                <a:lnTo>
                  <a:pt x="608814" y="561209"/>
                </a:lnTo>
                <a:cubicBezTo>
                  <a:pt x="608814" y="574740"/>
                  <a:pt x="597848" y="585693"/>
                  <a:pt x="584301" y="585693"/>
                </a:cubicBezTo>
                <a:lnTo>
                  <a:pt x="521177" y="585693"/>
                </a:lnTo>
                <a:cubicBezTo>
                  <a:pt x="507722" y="585693"/>
                  <a:pt x="496756" y="574740"/>
                  <a:pt x="496756" y="561209"/>
                </a:cubicBezTo>
                <a:lnTo>
                  <a:pt x="496756" y="172601"/>
                </a:lnTo>
                <a:cubicBezTo>
                  <a:pt x="496756" y="159070"/>
                  <a:pt x="507722" y="148117"/>
                  <a:pt x="521177" y="148117"/>
                </a:cubicBezTo>
                <a:close/>
                <a:moveTo>
                  <a:pt x="116229" y="131322"/>
                </a:moveTo>
                <a:lnTo>
                  <a:pt x="164246" y="131322"/>
                </a:lnTo>
                <a:cubicBezTo>
                  <a:pt x="175214" y="131322"/>
                  <a:pt x="184061" y="140159"/>
                  <a:pt x="184061" y="151113"/>
                </a:cubicBezTo>
                <a:lnTo>
                  <a:pt x="184061" y="171457"/>
                </a:lnTo>
                <a:cubicBezTo>
                  <a:pt x="193001" y="175231"/>
                  <a:pt x="201019" y="180386"/>
                  <a:pt x="208669" y="186094"/>
                </a:cubicBezTo>
                <a:lnTo>
                  <a:pt x="226641" y="175692"/>
                </a:lnTo>
                <a:cubicBezTo>
                  <a:pt x="236134" y="170261"/>
                  <a:pt x="248300" y="173482"/>
                  <a:pt x="253737" y="182964"/>
                </a:cubicBezTo>
                <a:lnTo>
                  <a:pt x="277792" y="224572"/>
                </a:lnTo>
                <a:cubicBezTo>
                  <a:pt x="280465" y="229083"/>
                  <a:pt x="281110" y="234514"/>
                  <a:pt x="279727" y="239577"/>
                </a:cubicBezTo>
                <a:cubicBezTo>
                  <a:pt x="278437" y="244640"/>
                  <a:pt x="275119" y="248966"/>
                  <a:pt x="270511" y="251544"/>
                </a:cubicBezTo>
                <a:lnTo>
                  <a:pt x="252355" y="262038"/>
                </a:lnTo>
                <a:cubicBezTo>
                  <a:pt x="253000" y="266733"/>
                  <a:pt x="253829" y="271335"/>
                  <a:pt x="253829" y="276122"/>
                </a:cubicBezTo>
                <a:cubicBezTo>
                  <a:pt x="253829" y="281001"/>
                  <a:pt x="253000" y="285604"/>
                  <a:pt x="252355" y="290206"/>
                </a:cubicBezTo>
                <a:lnTo>
                  <a:pt x="270511" y="300700"/>
                </a:lnTo>
                <a:cubicBezTo>
                  <a:pt x="279174" y="305671"/>
                  <a:pt x="282308" y="316165"/>
                  <a:pt x="278714" y="325094"/>
                </a:cubicBezTo>
                <a:cubicBezTo>
                  <a:pt x="272354" y="322609"/>
                  <a:pt x="265442" y="321136"/>
                  <a:pt x="258253" y="321136"/>
                </a:cubicBezTo>
                <a:lnTo>
                  <a:pt x="195858" y="321136"/>
                </a:lnTo>
                <a:cubicBezTo>
                  <a:pt x="205904" y="308709"/>
                  <a:pt x="212171" y="293244"/>
                  <a:pt x="212171" y="276122"/>
                </a:cubicBezTo>
                <a:cubicBezTo>
                  <a:pt x="212171" y="236539"/>
                  <a:pt x="179914" y="204320"/>
                  <a:pt x="140191" y="204320"/>
                </a:cubicBezTo>
                <a:cubicBezTo>
                  <a:pt x="100561" y="204320"/>
                  <a:pt x="68304" y="236539"/>
                  <a:pt x="68304" y="276122"/>
                </a:cubicBezTo>
                <a:cubicBezTo>
                  <a:pt x="68304" y="315797"/>
                  <a:pt x="100561" y="348016"/>
                  <a:pt x="140191" y="348016"/>
                </a:cubicBezTo>
                <a:cubicBezTo>
                  <a:pt x="143048" y="348016"/>
                  <a:pt x="145721" y="347463"/>
                  <a:pt x="148486" y="347095"/>
                </a:cubicBezTo>
                <a:cubicBezTo>
                  <a:pt x="143233" y="355564"/>
                  <a:pt x="140099" y="365414"/>
                  <a:pt x="140099" y="376000"/>
                </a:cubicBezTo>
                <a:lnTo>
                  <a:pt x="140099" y="420922"/>
                </a:lnTo>
                <a:lnTo>
                  <a:pt x="116229" y="420922"/>
                </a:lnTo>
                <a:cubicBezTo>
                  <a:pt x="105261" y="420922"/>
                  <a:pt x="96413" y="412085"/>
                  <a:pt x="96413" y="401131"/>
                </a:cubicBezTo>
                <a:lnTo>
                  <a:pt x="96413" y="380787"/>
                </a:lnTo>
                <a:cubicBezTo>
                  <a:pt x="87474" y="377013"/>
                  <a:pt x="79455" y="371950"/>
                  <a:pt x="71806" y="366150"/>
                </a:cubicBezTo>
                <a:lnTo>
                  <a:pt x="53742" y="376552"/>
                </a:lnTo>
                <a:cubicBezTo>
                  <a:pt x="49226" y="379222"/>
                  <a:pt x="43788" y="379866"/>
                  <a:pt x="38719" y="378577"/>
                </a:cubicBezTo>
                <a:cubicBezTo>
                  <a:pt x="33650" y="377197"/>
                  <a:pt x="29318" y="373883"/>
                  <a:pt x="26738" y="369372"/>
                </a:cubicBezTo>
                <a:lnTo>
                  <a:pt x="2683" y="327764"/>
                </a:lnTo>
                <a:cubicBezTo>
                  <a:pt x="-2847" y="318282"/>
                  <a:pt x="471" y="306131"/>
                  <a:pt x="9872" y="300700"/>
                </a:cubicBezTo>
                <a:lnTo>
                  <a:pt x="28120" y="290206"/>
                </a:lnTo>
                <a:cubicBezTo>
                  <a:pt x="27475" y="285604"/>
                  <a:pt x="26645" y="281001"/>
                  <a:pt x="26645" y="276122"/>
                </a:cubicBezTo>
                <a:cubicBezTo>
                  <a:pt x="26645" y="271335"/>
                  <a:pt x="27475" y="266733"/>
                  <a:pt x="28120" y="262038"/>
                </a:cubicBezTo>
                <a:lnTo>
                  <a:pt x="9872" y="251544"/>
                </a:lnTo>
                <a:cubicBezTo>
                  <a:pt x="471" y="246113"/>
                  <a:pt x="-2847" y="233962"/>
                  <a:pt x="2683" y="224572"/>
                </a:cubicBezTo>
                <a:lnTo>
                  <a:pt x="26738" y="182964"/>
                </a:lnTo>
                <a:cubicBezTo>
                  <a:pt x="29318" y="178361"/>
                  <a:pt x="33650" y="175139"/>
                  <a:pt x="38719" y="173759"/>
                </a:cubicBezTo>
                <a:cubicBezTo>
                  <a:pt x="43788" y="172378"/>
                  <a:pt x="49226" y="173114"/>
                  <a:pt x="53742" y="175692"/>
                </a:cubicBezTo>
                <a:lnTo>
                  <a:pt x="71806" y="186094"/>
                </a:lnTo>
                <a:cubicBezTo>
                  <a:pt x="79455" y="180386"/>
                  <a:pt x="87474" y="175231"/>
                  <a:pt x="96413" y="171457"/>
                </a:cubicBezTo>
                <a:lnTo>
                  <a:pt x="96413" y="151113"/>
                </a:lnTo>
                <a:cubicBezTo>
                  <a:pt x="96413" y="140159"/>
                  <a:pt x="105261" y="131322"/>
                  <a:pt x="116229" y="131322"/>
                </a:cubicBezTo>
                <a:close/>
                <a:moveTo>
                  <a:pt x="445756" y="83476"/>
                </a:moveTo>
                <a:cubicBezTo>
                  <a:pt x="428335" y="83476"/>
                  <a:pt x="414140" y="97557"/>
                  <a:pt x="414140" y="115044"/>
                </a:cubicBezTo>
                <a:cubicBezTo>
                  <a:pt x="414140" y="132438"/>
                  <a:pt x="428335" y="146520"/>
                  <a:pt x="445756" y="146520"/>
                </a:cubicBezTo>
                <a:cubicBezTo>
                  <a:pt x="463176" y="146520"/>
                  <a:pt x="477371" y="132438"/>
                  <a:pt x="477371" y="115044"/>
                </a:cubicBezTo>
                <a:cubicBezTo>
                  <a:pt x="477371" y="97557"/>
                  <a:pt x="463176" y="83476"/>
                  <a:pt x="445756" y="83476"/>
                </a:cubicBezTo>
                <a:close/>
                <a:moveTo>
                  <a:pt x="426676" y="0"/>
                </a:moveTo>
                <a:lnTo>
                  <a:pt x="464835" y="0"/>
                </a:lnTo>
                <a:cubicBezTo>
                  <a:pt x="473500" y="0"/>
                  <a:pt x="480597" y="7087"/>
                  <a:pt x="480597" y="15738"/>
                </a:cubicBezTo>
                <a:lnTo>
                  <a:pt x="480597" y="31936"/>
                </a:lnTo>
                <a:cubicBezTo>
                  <a:pt x="487694" y="34881"/>
                  <a:pt x="494054" y="38931"/>
                  <a:pt x="500138" y="43533"/>
                </a:cubicBezTo>
                <a:lnTo>
                  <a:pt x="514425" y="35249"/>
                </a:lnTo>
                <a:cubicBezTo>
                  <a:pt x="521983" y="30924"/>
                  <a:pt x="531569" y="33501"/>
                  <a:pt x="535901" y="40956"/>
                </a:cubicBezTo>
                <a:lnTo>
                  <a:pt x="554981" y="73996"/>
                </a:lnTo>
                <a:cubicBezTo>
                  <a:pt x="557101" y="77585"/>
                  <a:pt x="557654" y="81911"/>
                  <a:pt x="556640" y="85961"/>
                </a:cubicBezTo>
                <a:cubicBezTo>
                  <a:pt x="555534" y="89918"/>
                  <a:pt x="552861" y="93415"/>
                  <a:pt x="549266" y="95440"/>
                </a:cubicBezTo>
                <a:lnTo>
                  <a:pt x="534887" y="103815"/>
                </a:lnTo>
                <a:cubicBezTo>
                  <a:pt x="535348" y="107497"/>
                  <a:pt x="535993" y="111178"/>
                  <a:pt x="535993" y="115044"/>
                </a:cubicBezTo>
                <a:cubicBezTo>
                  <a:pt x="535993" y="115872"/>
                  <a:pt x="535809" y="116700"/>
                  <a:pt x="535717" y="117621"/>
                </a:cubicBezTo>
                <a:lnTo>
                  <a:pt x="521153" y="117621"/>
                </a:lnTo>
                <a:cubicBezTo>
                  <a:pt x="490828" y="117621"/>
                  <a:pt x="466126" y="142286"/>
                  <a:pt x="466126" y="172565"/>
                </a:cubicBezTo>
                <a:lnTo>
                  <a:pt x="466126" y="229719"/>
                </a:lnTo>
                <a:lnTo>
                  <a:pt x="466126" y="242604"/>
                </a:lnTo>
                <a:cubicBezTo>
                  <a:pt x="462715" y="237726"/>
                  <a:pt x="458383" y="233493"/>
                  <a:pt x="453590" y="229995"/>
                </a:cubicBezTo>
                <a:cubicBezTo>
                  <a:pt x="444465" y="223369"/>
                  <a:pt x="433404" y="219319"/>
                  <a:pt x="421330" y="219319"/>
                </a:cubicBezTo>
                <a:lnTo>
                  <a:pt x="411928" y="219319"/>
                </a:lnTo>
                <a:cubicBezTo>
                  <a:pt x="411375" y="217755"/>
                  <a:pt x="410914" y="216098"/>
                  <a:pt x="410914" y="214257"/>
                </a:cubicBezTo>
                <a:lnTo>
                  <a:pt x="410914" y="198059"/>
                </a:lnTo>
                <a:cubicBezTo>
                  <a:pt x="403817" y="195114"/>
                  <a:pt x="397457" y="191064"/>
                  <a:pt x="391373" y="186463"/>
                </a:cubicBezTo>
                <a:lnTo>
                  <a:pt x="377086" y="194746"/>
                </a:lnTo>
                <a:cubicBezTo>
                  <a:pt x="373492" y="196863"/>
                  <a:pt x="369160" y="197415"/>
                  <a:pt x="365104" y="196310"/>
                </a:cubicBezTo>
                <a:cubicBezTo>
                  <a:pt x="361140" y="195206"/>
                  <a:pt x="357638" y="192629"/>
                  <a:pt x="355610" y="189040"/>
                </a:cubicBezTo>
                <a:lnTo>
                  <a:pt x="336530" y="155999"/>
                </a:lnTo>
                <a:cubicBezTo>
                  <a:pt x="332198" y="148452"/>
                  <a:pt x="334687" y="138881"/>
                  <a:pt x="342245" y="134463"/>
                </a:cubicBezTo>
                <a:lnTo>
                  <a:pt x="356716" y="126180"/>
                </a:lnTo>
                <a:cubicBezTo>
                  <a:pt x="356163" y="122498"/>
                  <a:pt x="355518" y="118817"/>
                  <a:pt x="355518" y="115044"/>
                </a:cubicBezTo>
                <a:cubicBezTo>
                  <a:pt x="355518" y="111178"/>
                  <a:pt x="356163" y="107497"/>
                  <a:pt x="356716" y="103815"/>
                </a:cubicBezTo>
                <a:lnTo>
                  <a:pt x="342245" y="95440"/>
                </a:lnTo>
                <a:cubicBezTo>
                  <a:pt x="334687" y="91115"/>
                  <a:pt x="332198" y="81543"/>
                  <a:pt x="336530" y="73996"/>
                </a:cubicBezTo>
                <a:lnTo>
                  <a:pt x="355610" y="40956"/>
                </a:lnTo>
                <a:cubicBezTo>
                  <a:pt x="357638" y="37366"/>
                  <a:pt x="361140" y="34789"/>
                  <a:pt x="365104" y="33685"/>
                </a:cubicBezTo>
                <a:cubicBezTo>
                  <a:pt x="369160" y="32580"/>
                  <a:pt x="373492" y="33133"/>
                  <a:pt x="377086" y="35249"/>
                </a:cubicBezTo>
                <a:lnTo>
                  <a:pt x="391373" y="43533"/>
                </a:lnTo>
                <a:cubicBezTo>
                  <a:pt x="397457" y="38931"/>
                  <a:pt x="403817" y="34881"/>
                  <a:pt x="410914" y="31936"/>
                </a:cubicBezTo>
                <a:lnTo>
                  <a:pt x="410914" y="15738"/>
                </a:lnTo>
                <a:cubicBezTo>
                  <a:pt x="410914" y="7087"/>
                  <a:pt x="418011" y="0"/>
                  <a:pt x="426676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8FDFD763-3DC4-49B8-AA58-212AE9CFE1D2}"/>
              </a:ext>
            </a:extLst>
          </p:cNvPr>
          <p:cNvSpPr/>
          <p:nvPr/>
        </p:nvSpPr>
        <p:spPr>
          <a:xfrm>
            <a:off x="7196973" y="3268879"/>
            <a:ext cx="739337" cy="7393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655A0B5-22CE-4A42-A129-AA121D768D09}"/>
              </a:ext>
            </a:extLst>
          </p:cNvPr>
          <p:cNvSpPr/>
          <p:nvPr/>
        </p:nvSpPr>
        <p:spPr bwMode="auto">
          <a:xfrm>
            <a:off x="7393032" y="3471583"/>
            <a:ext cx="347219" cy="333928"/>
          </a:xfrm>
          <a:custGeom>
            <a:avLst/>
            <a:gdLst>
              <a:gd name="connsiteX0" fmla="*/ 61288 w 609549"/>
              <a:gd name="connsiteY0" fmla="*/ 383285 h 586216"/>
              <a:gd name="connsiteX1" fmla="*/ 71162 w 609549"/>
              <a:gd name="connsiteY1" fmla="*/ 387101 h 586216"/>
              <a:gd name="connsiteX2" fmla="*/ 120018 w 609549"/>
              <a:gd name="connsiteY2" fmla="*/ 435892 h 586216"/>
              <a:gd name="connsiteX3" fmla="*/ 120018 w 609549"/>
              <a:gd name="connsiteY3" fmla="*/ 454200 h 586216"/>
              <a:gd name="connsiteX4" fmla="*/ 56639 w 609549"/>
              <a:gd name="connsiteY4" fmla="*/ 517543 h 586216"/>
              <a:gd name="connsiteX5" fmla="*/ 35592 w 609549"/>
              <a:gd name="connsiteY5" fmla="*/ 513644 h 586216"/>
              <a:gd name="connsiteX6" fmla="*/ 51877 w 609549"/>
              <a:gd name="connsiteY6" fmla="*/ 388099 h 586216"/>
              <a:gd name="connsiteX7" fmla="*/ 61288 w 609549"/>
              <a:gd name="connsiteY7" fmla="*/ 383285 h 586216"/>
              <a:gd name="connsiteX8" fmla="*/ 235245 w 609549"/>
              <a:gd name="connsiteY8" fmla="*/ 302810 h 586216"/>
              <a:gd name="connsiteX9" fmla="*/ 306042 w 609549"/>
              <a:gd name="connsiteY9" fmla="*/ 373466 h 586216"/>
              <a:gd name="connsiteX10" fmla="*/ 258717 w 609549"/>
              <a:gd name="connsiteY10" fmla="*/ 420680 h 586216"/>
              <a:gd name="connsiteX11" fmla="*/ 230246 w 609549"/>
              <a:gd name="connsiteY11" fmla="*/ 550152 h 586216"/>
              <a:gd name="connsiteX12" fmla="*/ 92223 w 609549"/>
              <a:gd name="connsiteY12" fmla="*/ 575305 h 586216"/>
              <a:gd name="connsiteX13" fmla="*/ 88748 w 609549"/>
              <a:gd name="connsiteY13" fmla="*/ 556143 h 586216"/>
              <a:gd name="connsiteX14" fmla="*/ 165115 w 609549"/>
              <a:gd name="connsiteY14" fmla="*/ 479877 h 586216"/>
              <a:gd name="connsiteX15" fmla="*/ 165115 w 609549"/>
              <a:gd name="connsiteY15" fmla="*/ 446308 h 586216"/>
              <a:gd name="connsiteX16" fmla="*/ 88700 w 609549"/>
              <a:gd name="connsiteY16" fmla="*/ 369995 h 586216"/>
              <a:gd name="connsiteX17" fmla="*/ 92128 w 609549"/>
              <a:gd name="connsiteY17" fmla="*/ 350976 h 586216"/>
              <a:gd name="connsiteX18" fmla="*/ 189111 w 609549"/>
              <a:gd name="connsiteY18" fmla="*/ 348884 h 586216"/>
              <a:gd name="connsiteX19" fmla="*/ 257958 w 609549"/>
              <a:gd name="connsiteY19" fmla="*/ 161679 h 586216"/>
              <a:gd name="connsiteX20" fmla="*/ 317251 w 609549"/>
              <a:gd name="connsiteY20" fmla="*/ 220879 h 586216"/>
              <a:gd name="connsiteX21" fmla="*/ 388070 w 609549"/>
              <a:gd name="connsiteY21" fmla="*/ 291586 h 586216"/>
              <a:gd name="connsiteX22" fmla="*/ 604906 w 609549"/>
              <a:gd name="connsiteY22" fmla="*/ 508130 h 586216"/>
              <a:gd name="connsiteX23" fmla="*/ 604906 w 609549"/>
              <a:gd name="connsiteY23" fmla="*/ 530526 h 586216"/>
              <a:gd name="connsiteX24" fmla="*/ 556567 w 609549"/>
              <a:gd name="connsiteY24" fmla="*/ 578789 h 586216"/>
              <a:gd name="connsiteX25" fmla="*/ 545327 w 609549"/>
              <a:gd name="connsiteY25" fmla="*/ 583449 h 586216"/>
              <a:gd name="connsiteX26" fmla="*/ 534135 w 609549"/>
              <a:gd name="connsiteY26" fmla="*/ 578789 h 586216"/>
              <a:gd name="connsiteX27" fmla="*/ 317251 w 609549"/>
              <a:gd name="connsiteY27" fmla="*/ 362293 h 586216"/>
              <a:gd name="connsiteX28" fmla="*/ 246481 w 609549"/>
              <a:gd name="connsiteY28" fmla="*/ 291586 h 586216"/>
              <a:gd name="connsiteX29" fmla="*/ 187140 w 609549"/>
              <a:gd name="connsiteY29" fmla="*/ 232339 h 586216"/>
              <a:gd name="connsiteX30" fmla="*/ 58606 w 609549"/>
              <a:gd name="connsiteY30" fmla="*/ 160814 h 586216"/>
              <a:gd name="connsiteX31" fmla="*/ 126401 w 609549"/>
              <a:gd name="connsiteY31" fmla="*/ 228498 h 586216"/>
              <a:gd name="connsiteX32" fmla="*/ 111975 w 609549"/>
              <a:gd name="connsiteY32" fmla="*/ 242899 h 586216"/>
              <a:gd name="connsiteX33" fmla="*/ 119307 w 609549"/>
              <a:gd name="connsiteY33" fmla="*/ 250219 h 586216"/>
              <a:gd name="connsiteX34" fmla="*/ 119307 w 609549"/>
              <a:gd name="connsiteY34" fmla="*/ 277692 h 586216"/>
              <a:gd name="connsiteX35" fmla="*/ 115641 w 609549"/>
              <a:gd name="connsiteY35" fmla="*/ 281352 h 586216"/>
              <a:gd name="connsiteX36" fmla="*/ 88123 w 609549"/>
              <a:gd name="connsiteY36" fmla="*/ 281352 h 586216"/>
              <a:gd name="connsiteX37" fmla="*/ 5712 w 609549"/>
              <a:gd name="connsiteY37" fmla="*/ 199029 h 586216"/>
              <a:gd name="connsiteX38" fmla="*/ 5712 w 609549"/>
              <a:gd name="connsiteY38" fmla="*/ 171604 h 586216"/>
              <a:gd name="connsiteX39" fmla="*/ 9378 w 609549"/>
              <a:gd name="connsiteY39" fmla="*/ 167944 h 586216"/>
              <a:gd name="connsiteX40" fmla="*/ 36849 w 609549"/>
              <a:gd name="connsiteY40" fmla="*/ 167944 h 586216"/>
              <a:gd name="connsiteX41" fmla="*/ 44180 w 609549"/>
              <a:gd name="connsiteY41" fmla="*/ 175264 h 586216"/>
              <a:gd name="connsiteX42" fmla="*/ 585775 w 609549"/>
              <a:gd name="connsiteY42" fmla="*/ 66370 h 586216"/>
              <a:gd name="connsiteX43" fmla="*/ 595263 w 609549"/>
              <a:gd name="connsiteY43" fmla="*/ 73839 h 586216"/>
              <a:gd name="connsiteX44" fmla="*/ 578978 w 609549"/>
              <a:gd name="connsiteY44" fmla="*/ 199341 h 586216"/>
              <a:gd name="connsiteX45" fmla="*/ 559693 w 609549"/>
              <a:gd name="connsiteY45" fmla="*/ 200387 h 586216"/>
              <a:gd name="connsiteX46" fmla="*/ 510789 w 609549"/>
              <a:gd name="connsiteY46" fmla="*/ 151612 h 586216"/>
              <a:gd name="connsiteX47" fmla="*/ 510789 w 609549"/>
              <a:gd name="connsiteY47" fmla="*/ 133262 h 586216"/>
              <a:gd name="connsiteX48" fmla="*/ 574216 w 609549"/>
              <a:gd name="connsiteY48" fmla="*/ 69988 h 586216"/>
              <a:gd name="connsiteX49" fmla="*/ 585775 w 609549"/>
              <a:gd name="connsiteY49" fmla="*/ 66370 h 586216"/>
              <a:gd name="connsiteX50" fmla="*/ 158702 w 609549"/>
              <a:gd name="connsiteY50" fmla="*/ 26758 h 586216"/>
              <a:gd name="connsiteX51" fmla="*/ 172463 w 609549"/>
              <a:gd name="connsiteY51" fmla="*/ 32464 h 586216"/>
              <a:gd name="connsiteX52" fmla="*/ 179701 w 609549"/>
              <a:gd name="connsiteY52" fmla="*/ 39691 h 586216"/>
              <a:gd name="connsiteX53" fmla="*/ 246935 w 609549"/>
              <a:gd name="connsiteY53" fmla="*/ 106831 h 586216"/>
              <a:gd name="connsiteX54" fmla="*/ 254886 w 609549"/>
              <a:gd name="connsiteY54" fmla="*/ 114819 h 586216"/>
              <a:gd name="connsiteX55" fmla="*/ 257600 w 609549"/>
              <a:gd name="connsiteY55" fmla="*/ 138879 h 586216"/>
              <a:gd name="connsiteX56" fmla="*/ 254886 w 609549"/>
              <a:gd name="connsiteY56" fmla="*/ 142255 h 586216"/>
              <a:gd name="connsiteX57" fmla="*/ 252315 w 609549"/>
              <a:gd name="connsiteY57" fmla="*/ 144823 h 586216"/>
              <a:gd name="connsiteX58" fmla="*/ 246696 w 609549"/>
              <a:gd name="connsiteY58" fmla="*/ 150434 h 586216"/>
              <a:gd name="connsiteX59" fmla="*/ 175892 w 609549"/>
              <a:gd name="connsiteY59" fmla="*/ 221140 h 586216"/>
              <a:gd name="connsiteX60" fmla="*/ 172463 w 609549"/>
              <a:gd name="connsiteY60" fmla="*/ 224611 h 586216"/>
              <a:gd name="connsiteX61" fmla="*/ 170130 w 609549"/>
              <a:gd name="connsiteY61" fmla="*/ 226560 h 586216"/>
              <a:gd name="connsiteX62" fmla="*/ 162274 w 609549"/>
              <a:gd name="connsiteY62" fmla="*/ 229936 h 586216"/>
              <a:gd name="connsiteX63" fmla="*/ 158702 w 609549"/>
              <a:gd name="connsiteY63" fmla="*/ 230269 h 586216"/>
              <a:gd name="connsiteX64" fmla="*/ 144942 w 609549"/>
              <a:gd name="connsiteY64" fmla="*/ 224611 h 586216"/>
              <a:gd name="connsiteX65" fmla="*/ 137609 w 609549"/>
              <a:gd name="connsiteY65" fmla="*/ 217288 h 586216"/>
              <a:gd name="connsiteX66" fmla="*/ 69804 w 609549"/>
              <a:gd name="connsiteY66" fmla="*/ 149578 h 586216"/>
              <a:gd name="connsiteX67" fmla="*/ 62519 w 609549"/>
              <a:gd name="connsiteY67" fmla="*/ 142255 h 586216"/>
              <a:gd name="connsiteX68" fmla="*/ 62519 w 609549"/>
              <a:gd name="connsiteY68" fmla="*/ 114819 h 586216"/>
              <a:gd name="connsiteX69" fmla="*/ 144942 w 609549"/>
              <a:gd name="connsiteY69" fmla="*/ 32464 h 586216"/>
              <a:gd name="connsiteX70" fmla="*/ 158702 w 609549"/>
              <a:gd name="connsiteY70" fmla="*/ 26758 h 586216"/>
              <a:gd name="connsiteX71" fmla="*/ 254809 w 609549"/>
              <a:gd name="connsiteY71" fmla="*/ 6542 h 586216"/>
              <a:gd name="connsiteX72" fmla="*/ 321015 w 609549"/>
              <a:gd name="connsiteY72" fmla="*/ 29913 h 586216"/>
              <a:gd name="connsiteX73" fmla="*/ 260017 w 609549"/>
              <a:gd name="connsiteY73" fmla="*/ 97465 h 586216"/>
              <a:gd name="connsiteX74" fmla="*/ 193067 w 609549"/>
              <a:gd name="connsiteY74" fmla="*/ 30626 h 586216"/>
              <a:gd name="connsiteX75" fmla="*/ 254809 w 609549"/>
              <a:gd name="connsiteY75" fmla="*/ 6542 h 586216"/>
              <a:gd name="connsiteX76" fmla="*/ 503105 w 609549"/>
              <a:gd name="connsiteY76" fmla="*/ 953 h 586216"/>
              <a:gd name="connsiteX77" fmla="*/ 538560 w 609549"/>
              <a:gd name="connsiteY77" fmla="*/ 10911 h 586216"/>
              <a:gd name="connsiteX78" fmla="*/ 542083 w 609549"/>
              <a:gd name="connsiteY78" fmla="*/ 30073 h 586216"/>
              <a:gd name="connsiteX79" fmla="*/ 465709 w 609549"/>
              <a:gd name="connsiteY79" fmla="*/ 106341 h 586216"/>
              <a:gd name="connsiteX80" fmla="*/ 465709 w 609549"/>
              <a:gd name="connsiteY80" fmla="*/ 139911 h 586216"/>
              <a:gd name="connsiteX81" fmla="*/ 542131 w 609549"/>
              <a:gd name="connsiteY81" fmla="*/ 216227 h 586216"/>
              <a:gd name="connsiteX82" fmla="*/ 538655 w 609549"/>
              <a:gd name="connsiteY82" fmla="*/ 235246 h 586216"/>
              <a:gd name="connsiteX83" fmla="*/ 442187 w 609549"/>
              <a:gd name="connsiteY83" fmla="*/ 237528 h 586216"/>
              <a:gd name="connsiteX84" fmla="*/ 399238 w 609549"/>
              <a:gd name="connsiteY84" fmla="*/ 280370 h 586216"/>
              <a:gd name="connsiteX85" fmla="*/ 328482 w 609549"/>
              <a:gd name="connsiteY85" fmla="*/ 209712 h 586216"/>
              <a:gd name="connsiteX86" fmla="*/ 372240 w 609549"/>
              <a:gd name="connsiteY86" fmla="*/ 166015 h 586216"/>
              <a:gd name="connsiteX87" fmla="*/ 400571 w 609549"/>
              <a:gd name="connsiteY87" fmla="*/ 36064 h 586216"/>
              <a:gd name="connsiteX88" fmla="*/ 503105 w 609549"/>
              <a:gd name="connsiteY88" fmla="*/ 953 h 5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609549" h="586216">
                <a:moveTo>
                  <a:pt x="61288" y="383285"/>
                </a:moveTo>
                <a:cubicBezTo>
                  <a:pt x="64829" y="383106"/>
                  <a:pt x="68448" y="384367"/>
                  <a:pt x="71162" y="387101"/>
                </a:cubicBezTo>
                <a:lnTo>
                  <a:pt x="120018" y="435892"/>
                </a:lnTo>
                <a:cubicBezTo>
                  <a:pt x="125113" y="440933"/>
                  <a:pt x="125113" y="449160"/>
                  <a:pt x="120018" y="454200"/>
                </a:cubicBezTo>
                <a:lnTo>
                  <a:pt x="56639" y="517543"/>
                </a:lnTo>
                <a:cubicBezTo>
                  <a:pt x="50211" y="523963"/>
                  <a:pt x="39211" y="522013"/>
                  <a:pt x="35592" y="513644"/>
                </a:cubicBezTo>
                <a:cubicBezTo>
                  <a:pt x="17783" y="472794"/>
                  <a:pt x="23211" y="424288"/>
                  <a:pt x="51877" y="388099"/>
                </a:cubicBezTo>
                <a:cubicBezTo>
                  <a:pt x="54282" y="385079"/>
                  <a:pt x="57746" y="383463"/>
                  <a:pt x="61288" y="383285"/>
                </a:cubicBezTo>
                <a:close/>
                <a:moveTo>
                  <a:pt x="235245" y="302810"/>
                </a:moveTo>
                <a:lnTo>
                  <a:pt x="306042" y="373466"/>
                </a:lnTo>
                <a:lnTo>
                  <a:pt x="258717" y="420680"/>
                </a:lnTo>
                <a:cubicBezTo>
                  <a:pt x="274667" y="464329"/>
                  <a:pt x="265192" y="515300"/>
                  <a:pt x="230246" y="550152"/>
                </a:cubicBezTo>
                <a:cubicBezTo>
                  <a:pt x="192919" y="587430"/>
                  <a:pt x="137644" y="595798"/>
                  <a:pt x="92223" y="575305"/>
                </a:cubicBezTo>
                <a:cubicBezTo>
                  <a:pt x="84701" y="571882"/>
                  <a:pt x="82892" y="561992"/>
                  <a:pt x="88748" y="556143"/>
                </a:cubicBezTo>
                <a:lnTo>
                  <a:pt x="165115" y="479877"/>
                </a:lnTo>
                <a:cubicBezTo>
                  <a:pt x="174399" y="470605"/>
                  <a:pt x="174399" y="455580"/>
                  <a:pt x="165115" y="446308"/>
                </a:cubicBezTo>
                <a:lnTo>
                  <a:pt x="88700" y="369995"/>
                </a:lnTo>
                <a:cubicBezTo>
                  <a:pt x="82844" y="364194"/>
                  <a:pt x="84653" y="354399"/>
                  <a:pt x="92128" y="350976"/>
                </a:cubicBezTo>
                <a:cubicBezTo>
                  <a:pt x="122789" y="337092"/>
                  <a:pt x="157973" y="336379"/>
                  <a:pt x="189111" y="348884"/>
                </a:cubicBezTo>
                <a:close/>
                <a:moveTo>
                  <a:pt x="257958" y="161679"/>
                </a:moveTo>
                <a:lnTo>
                  <a:pt x="317251" y="220879"/>
                </a:lnTo>
                <a:lnTo>
                  <a:pt x="388070" y="291586"/>
                </a:lnTo>
                <a:lnTo>
                  <a:pt x="604906" y="508130"/>
                </a:lnTo>
                <a:cubicBezTo>
                  <a:pt x="611097" y="514311"/>
                  <a:pt x="611097" y="524344"/>
                  <a:pt x="604906" y="530526"/>
                </a:cubicBezTo>
                <a:lnTo>
                  <a:pt x="556567" y="578789"/>
                </a:lnTo>
                <a:cubicBezTo>
                  <a:pt x="553471" y="581880"/>
                  <a:pt x="549423" y="583449"/>
                  <a:pt x="545327" y="583449"/>
                </a:cubicBezTo>
                <a:cubicBezTo>
                  <a:pt x="541279" y="583449"/>
                  <a:pt x="537231" y="581880"/>
                  <a:pt x="534135" y="578789"/>
                </a:cubicBezTo>
                <a:lnTo>
                  <a:pt x="317251" y="362293"/>
                </a:lnTo>
                <a:lnTo>
                  <a:pt x="246481" y="291586"/>
                </a:lnTo>
                <a:lnTo>
                  <a:pt x="187140" y="232339"/>
                </a:lnTo>
                <a:close/>
                <a:moveTo>
                  <a:pt x="58606" y="160814"/>
                </a:moveTo>
                <a:lnTo>
                  <a:pt x="126401" y="228498"/>
                </a:lnTo>
                <a:lnTo>
                  <a:pt x="111975" y="242899"/>
                </a:lnTo>
                <a:lnTo>
                  <a:pt x="119307" y="250219"/>
                </a:lnTo>
                <a:cubicBezTo>
                  <a:pt x="126877" y="257824"/>
                  <a:pt x="126877" y="270087"/>
                  <a:pt x="119307" y="277692"/>
                </a:cubicBezTo>
                <a:lnTo>
                  <a:pt x="115641" y="281352"/>
                </a:lnTo>
                <a:cubicBezTo>
                  <a:pt x="108024" y="288909"/>
                  <a:pt x="95741" y="288909"/>
                  <a:pt x="88123" y="281352"/>
                </a:cubicBezTo>
                <a:lnTo>
                  <a:pt x="5712" y="199029"/>
                </a:lnTo>
                <a:cubicBezTo>
                  <a:pt x="-1905" y="191424"/>
                  <a:pt x="-1905" y="179161"/>
                  <a:pt x="5712" y="171604"/>
                </a:cubicBezTo>
                <a:lnTo>
                  <a:pt x="9378" y="167944"/>
                </a:lnTo>
                <a:cubicBezTo>
                  <a:pt x="16948" y="160339"/>
                  <a:pt x="29231" y="160339"/>
                  <a:pt x="36849" y="167944"/>
                </a:cubicBezTo>
                <a:lnTo>
                  <a:pt x="44180" y="175264"/>
                </a:lnTo>
                <a:close/>
                <a:moveTo>
                  <a:pt x="585775" y="66370"/>
                </a:moveTo>
                <a:cubicBezTo>
                  <a:pt x="589775" y="67101"/>
                  <a:pt x="593430" y="69680"/>
                  <a:pt x="595263" y="73839"/>
                </a:cubicBezTo>
                <a:cubicBezTo>
                  <a:pt x="613072" y="114675"/>
                  <a:pt x="607644" y="163212"/>
                  <a:pt x="578978" y="199341"/>
                </a:cubicBezTo>
                <a:cubicBezTo>
                  <a:pt x="574168" y="205379"/>
                  <a:pt x="565121" y="205854"/>
                  <a:pt x="559693" y="200387"/>
                </a:cubicBezTo>
                <a:lnTo>
                  <a:pt x="510789" y="151612"/>
                </a:lnTo>
                <a:cubicBezTo>
                  <a:pt x="505742" y="146526"/>
                  <a:pt x="505742" y="138349"/>
                  <a:pt x="510789" y="133262"/>
                </a:cubicBezTo>
                <a:lnTo>
                  <a:pt x="574216" y="69988"/>
                </a:lnTo>
                <a:cubicBezTo>
                  <a:pt x="577430" y="66756"/>
                  <a:pt x="581775" y="65639"/>
                  <a:pt x="585775" y="66370"/>
                </a:cubicBezTo>
                <a:close/>
                <a:moveTo>
                  <a:pt x="158702" y="26758"/>
                </a:moveTo>
                <a:cubicBezTo>
                  <a:pt x="163655" y="26758"/>
                  <a:pt x="168654" y="28660"/>
                  <a:pt x="172463" y="32464"/>
                </a:cubicBezTo>
                <a:lnTo>
                  <a:pt x="179701" y="39691"/>
                </a:lnTo>
                <a:lnTo>
                  <a:pt x="246935" y="106831"/>
                </a:lnTo>
                <a:lnTo>
                  <a:pt x="254886" y="114819"/>
                </a:lnTo>
                <a:cubicBezTo>
                  <a:pt x="261457" y="121334"/>
                  <a:pt x="262362" y="131414"/>
                  <a:pt x="257600" y="138879"/>
                </a:cubicBezTo>
                <a:cubicBezTo>
                  <a:pt x="256839" y="140068"/>
                  <a:pt x="255934" y="141209"/>
                  <a:pt x="254886" y="142255"/>
                </a:cubicBezTo>
                <a:lnTo>
                  <a:pt x="252315" y="144823"/>
                </a:lnTo>
                <a:lnTo>
                  <a:pt x="246696" y="150434"/>
                </a:lnTo>
                <a:lnTo>
                  <a:pt x="175892" y="221140"/>
                </a:lnTo>
                <a:lnTo>
                  <a:pt x="172463" y="224611"/>
                </a:lnTo>
                <a:cubicBezTo>
                  <a:pt x="171702" y="225324"/>
                  <a:pt x="170940" y="225990"/>
                  <a:pt x="170130" y="226560"/>
                </a:cubicBezTo>
                <a:cubicBezTo>
                  <a:pt x="167749" y="228319"/>
                  <a:pt x="165083" y="229413"/>
                  <a:pt x="162274" y="229936"/>
                </a:cubicBezTo>
                <a:cubicBezTo>
                  <a:pt x="161083" y="230174"/>
                  <a:pt x="159893" y="230269"/>
                  <a:pt x="158702" y="230269"/>
                </a:cubicBezTo>
                <a:cubicBezTo>
                  <a:pt x="153703" y="230269"/>
                  <a:pt x="148751" y="228367"/>
                  <a:pt x="144942" y="224611"/>
                </a:cubicBezTo>
                <a:lnTo>
                  <a:pt x="137609" y="217288"/>
                </a:lnTo>
                <a:lnTo>
                  <a:pt x="69804" y="149578"/>
                </a:lnTo>
                <a:lnTo>
                  <a:pt x="62519" y="142255"/>
                </a:lnTo>
                <a:cubicBezTo>
                  <a:pt x="54900" y="134647"/>
                  <a:pt x="54900" y="122380"/>
                  <a:pt x="62519" y="114819"/>
                </a:cubicBezTo>
                <a:lnTo>
                  <a:pt x="144942" y="32464"/>
                </a:lnTo>
                <a:cubicBezTo>
                  <a:pt x="148751" y="28660"/>
                  <a:pt x="153750" y="26758"/>
                  <a:pt x="158702" y="26758"/>
                </a:cubicBezTo>
                <a:close/>
                <a:moveTo>
                  <a:pt x="254809" y="6542"/>
                </a:moveTo>
                <a:cubicBezTo>
                  <a:pt x="277279" y="4029"/>
                  <a:pt x="300492" y="9424"/>
                  <a:pt x="321015" y="29913"/>
                </a:cubicBezTo>
                <a:cubicBezTo>
                  <a:pt x="380347" y="89193"/>
                  <a:pt x="337205" y="46124"/>
                  <a:pt x="260017" y="97465"/>
                </a:cubicBezTo>
                <a:lnTo>
                  <a:pt x="193067" y="30626"/>
                </a:lnTo>
                <a:cubicBezTo>
                  <a:pt x="210614" y="19479"/>
                  <a:pt x="232340" y="9056"/>
                  <a:pt x="254809" y="6542"/>
                </a:cubicBezTo>
                <a:close/>
                <a:moveTo>
                  <a:pt x="503105" y="953"/>
                </a:moveTo>
                <a:cubicBezTo>
                  <a:pt x="515252" y="2468"/>
                  <a:pt x="527216" y="5788"/>
                  <a:pt x="538560" y="10911"/>
                </a:cubicBezTo>
                <a:cubicBezTo>
                  <a:pt x="546131" y="14334"/>
                  <a:pt x="547940" y="24224"/>
                  <a:pt x="542083" y="30073"/>
                </a:cubicBezTo>
                <a:lnTo>
                  <a:pt x="465709" y="106341"/>
                </a:lnTo>
                <a:cubicBezTo>
                  <a:pt x="456424" y="115613"/>
                  <a:pt x="456424" y="130639"/>
                  <a:pt x="465709" y="139911"/>
                </a:cubicBezTo>
                <a:lnTo>
                  <a:pt x="542131" y="216227"/>
                </a:lnTo>
                <a:cubicBezTo>
                  <a:pt x="547940" y="222028"/>
                  <a:pt x="546178" y="231823"/>
                  <a:pt x="538655" y="235246"/>
                </a:cubicBezTo>
                <a:cubicBezTo>
                  <a:pt x="508181" y="249035"/>
                  <a:pt x="473184" y="249844"/>
                  <a:pt x="442187" y="237528"/>
                </a:cubicBezTo>
                <a:lnTo>
                  <a:pt x="399238" y="280370"/>
                </a:lnTo>
                <a:lnTo>
                  <a:pt x="328482" y="209712"/>
                </a:lnTo>
                <a:lnTo>
                  <a:pt x="372240" y="166015"/>
                </a:lnTo>
                <a:cubicBezTo>
                  <a:pt x="356051" y="122270"/>
                  <a:pt x="365527" y="71060"/>
                  <a:pt x="400571" y="36064"/>
                </a:cubicBezTo>
                <a:cubicBezTo>
                  <a:pt x="428569" y="8106"/>
                  <a:pt x="466664" y="-3592"/>
                  <a:pt x="503105" y="95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50DCBF57-F8A3-48CB-8423-3222FADFE300}"/>
              </a:ext>
            </a:extLst>
          </p:cNvPr>
          <p:cNvSpPr/>
          <p:nvPr/>
        </p:nvSpPr>
        <p:spPr>
          <a:xfrm>
            <a:off x="6160669" y="3268879"/>
            <a:ext cx="739337" cy="7393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7F8D5637-0C04-463E-9AC4-974242600E15}"/>
              </a:ext>
            </a:extLst>
          </p:cNvPr>
          <p:cNvSpPr/>
          <p:nvPr/>
        </p:nvSpPr>
        <p:spPr bwMode="auto">
          <a:xfrm>
            <a:off x="6365282" y="3465263"/>
            <a:ext cx="347219" cy="346569"/>
          </a:xfrm>
          <a:custGeom>
            <a:avLst/>
            <a:gdLst>
              <a:gd name="connsiteX0" fmla="*/ 290910 w 605702"/>
              <a:gd name="connsiteY0" fmla="*/ 156336 h 604568"/>
              <a:gd name="connsiteX1" fmla="*/ 335849 w 605702"/>
              <a:gd name="connsiteY1" fmla="*/ 164992 h 604568"/>
              <a:gd name="connsiteX2" fmla="*/ 288310 w 605702"/>
              <a:gd name="connsiteY2" fmla="*/ 212456 h 604568"/>
              <a:gd name="connsiteX3" fmla="*/ 203632 w 605702"/>
              <a:gd name="connsiteY3" fmla="*/ 244717 h 604568"/>
              <a:gd name="connsiteX4" fmla="*/ 203632 w 605702"/>
              <a:gd name="connsiteY4" fmla="*/ 401388 h 604568"/>
              <a:gd name="connsiteX5" fmla="*/ 360547 w 605702"/>
              <a:gd name="connsiteY5" fmla="*/ 401388 h 604568"/>
              <a:gd name="connsiteX6" fmla="*/ 392859 w 605702"/>
              <a:gd name="connsiteY6" fmla="*/ 316749 h 604568"/>
              <a:gd name="connsiteX7" fmla="*/ 440397 w 605702"/>
              <a:gd name="connsiteY7" fmla="*/ 269284 h 604568"/>
              <a:gd name="connsiteX8" fmla="*/ 400287 w 605702"/>
              <a:gd name="connsiteY8" fmla="*/ 441065 h 604568"/>
              <a:gd name="connsiteX9" fmla="*/ 163892 w 605702"/>
              <a:gd name="connsiteY9" fmla="*/ 441065 h 604568"/>
              <a:gd name="connsiteX10" fmla="*/ 163892 w 605702"/>
              <a:gd name="connsiteY10" fmla="*/ 205040 h 604568"/>
              <a:gd name="connsiteX11" fmla="*/ 290910 w 605702"/>
              <a:gd name="connsiteY11" fmla="*/ 156336 h 604568"/>
              <a:gd name="connsiteX12" fmla="*/ 246542 w 605702"/>
              <a:gd name="connsiteY12" fmla="*/ 43775 h 604568"/>
              <a:gd name="connsiteX13" fmla="*/ 422196 w 605702"/>
              <a:gd name="connsiteY13" fmla="*/ 78723 h 604568"/>
              <a:gd name="connsiteX14" fmla="*/ 376794 w 605702"/>
              <a:gd name="connsiteY14" fmla="*/ 124054 h 604568"/>
              <a:gd name="connsiteX15" fmla="*/ 126109 w 605702"/>
              <a:gd name="connsiteY15" fmla="*/ 167345 h 604568"/>
              <a:gd name="connsiteX16" fmla="*/ 126109 w 605702"/>
              <a:gd name="connsiteY16" fmla="*/ 478820 h 604568"/>
              <a:gd name="connsiteX17" fmla="*/ 438073 w 605702"/>
              <a:gd name="connsiteY17" fmla="*/ 478820 h 604568"/>
              <a:gd name="connsiteX18" fmla="*/ 481432 w 605702"/>
              <a:gd name="connsiteY18" fmla="*/ 228527 h 604568"/>
              <a:gd name="connsiteX19" fmla="*/ 526741 w 605702"/>
              <a:gd name="connsiteY19" fmla="*/ 183011 h 604568"/>
              <a:gd name="connsiteX20" fmla="*/ 481432 w 605702"/>
              <a:gd name="connsiteY20" fmla="*/ 522111 h 604568"/>
              <a:gd name="connsiteX21" fmla="*/ 82657 w 605702"/>
              <a:gd name="connsiteY21" fmla="*/ 522111 h 604568"/>
              <a:gd name="connsiteX22" fmla="*/ 82657 w 605702"/>
              <a:gd name="connsiteY22" fmla="*/ 123961 h 604568"/>
              <a:gd name="connsiteX23" fmla="*/ 246542 w 605702"/>
              <a:gd name="connsiteY23" fmla="*/ 43775 h 604568"/>
              <a:gd name="connsiteX24" fmla="*/ 536061 w 605702"/>
              <a:gd name="connsiteY24" fmla="*/ 0 h 604568"/>
              <a:gd name="connsiteX25" fmla="*/ 544232 w 605702"/>
              <a:gd name="connsiteY25" fmla="*/ 61368 h 604568"/>
              <a:gd name="connsiteX26" fmla="*/ 605702 w 605702"/>
              <a:gd name="connsiteY26" fmla="*/ 69526 h 604568"/>
              <a:gd name="connsiteX27" fmla="*/ 524361 w 605702"/>
              <a:gd name="connsiteY27" fmla="*/ 150732 h 604568"/>
              <a:gd name="connsiteX28" fmla="*/ 498361 w 605702"/>
              <a:gd name="connsiteY28" fmla="*/ 147302 h 604568"/>
              <a:gd name="connsiteX29" fmla="*/ 337721 w 605702"/>
              <a:gd name="connsiteY29" fmla="*/ 307767 h 604568"/>
              <a:gd name="connsiteX30" fmla="*/ 339764 w 605702"/>
              <a:gd name="connsiteY30" fmla="*/ 323063 h 604568"/>
              <a:gd name="connsiteX31" fmla="*/ 282101 w 605702"/>
              <a:gd name="connsiteY31" fmla="*/ 380630 h 604568"/>
              <a:gd name="connsiteX32" fmla="*/ 224437 w 605702"/>
              <a:gd name="connsiteY32" fmla="*/ 323063 h 604568"/>
              <a:gd name="connsiteX33" fmla="*/ 282101 w 605702"/>
              <a:gd name="connsiteY33" fmla="*/ 265495 h 604568"/>
              <a:gd name="connsiteX34" fmla="*/ 297422 w 605702"/>
              <a:gd name="connsiteY34" fmla="*/ 267535 h 604568"/>
              <a:gd name="connsiteX35" fmla="*/ 458155 w 605702"/>
              <a:gd name="connsiteY35" fmla="*/ 107162 h 604568"/>
              <a:gd name="connsiteX36" fmla="*/ 454719 w 605702"/>
              <a:gd name="connsiteY36" fmla="*/ 81206 h 604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5702" h="604568">
                <a:moveTo>
                  <a:pt x="290910" y="156336"/>
                </a:moveTo>
                <a:cubicBezTo>
                  <a:pt x="306137" y="157147"/>
                  <a:pt x="321272" y="160032"/>
                  <a:pt x="335849" y="164992"/>
                </a:cubicBezTo>
                <a:lnTo>
                  <a:pt x="288310" y="212456"/>
                </a:lnTo>
                <a:cubicBezTo>
                  <a:pt x="257856" y="210695"/>
                  <a:pt x="226844" y="221449"/>
                  <a:pt x="203632" y="244717"/>
                </a:cubicBezTo>
                <a:cubicBezTo>
                  <a:pt x="160271" y="287918"/>
                  <a:pt x="160271" y="358187"/>
                  <a:pt x="203632" y="401388"/>
                </a:cubicBezTo>
                <a:cubicBezTo>
                  <a:pt x="246900" y="444680"/>
                  <a:pt x="317279" y="444680"/>
                  <a:pt x="360547" y="401388"/>
                </a:cubicBezTo>
                <a:cubicBezTo>
                  <a:pt x="383852" y="378211"/>
                  <a:pt x="394623" y="347156"/>
                  <a:pt x="392859" y="316749"/>
                </a:cubicBezTo>
                <a:lnTo>
                  <a:pt x="440397" y="269284"/>
                </a:lnTo>
                <a:cubicBezTo>
                  <a:pt x="460267" y="327595"/>
                  <a:pt x="446897" y="394620"/>
                  <a:pt x="400287" y="441065"/>
                </a:cubicBezTo>
                <a:cubicBezTo>
                  <a:pt x="335106" y="506236"/>
                  <a:pt x="229073" y="506236"/>
                  <a:pt x="163892" y="441065"/>
                </a:cubicBezTo>
                <a:cubicBezTo>
                  <a:pt x="98619" y="375987"/>
                  <a:pt x="98619" y="270118"/>
                  <a:pt x="163892" y="205040"/>
                </a:cubicBezTo>
                <a:cubicBezTo>
                  <a:pt x="198711" y="170137"/>
                  <a:pt x="245228" y="153902"/>
                  <a:pt x="290910" y="156336"/>
                </a:cubicBezTo>
                <a:close/>
                <a:moveTo>
                  <a:pt x="246542" y="43775"/>
                </a:moveTo>
                <a:cubicBezTo>
                  <a:pt x="306463" y="36243"/>
                  <a:pt x="368345" y="47900"/>
                  <a:pt x="422196" y="78723"/>
                </a:cubicBezTo>
                <a:lnTo>
                  <a:pt x="376794" y="124054"/>
                </a:lnTo>
                <a:cubicBezTo>
                  <a:pt x="294811" y="85305"/>
                  <a:pt x="193980" y="99581"/>
                  <a:pt x="126109" y="167345"/>
                </a:cubicBezTo>
                <a:cubicBezTo>
                  <a:pt x="39948" y="253371"/>
                  <a:pt x="39948" y="392793"/>
                  <a:pt x="126109" y="478820"/>
                </a:cubicBezTo>
                <a:cubicBezTo>
                  <a:pt x="212271" y="564846"/>
                  <a:pt x="351912" y="564846"/>
                  <a:pt x="438073" y="478820"/>
                </a:cubicBezTo>
                <a:cubicBezTo>
                  <a:pt x="505944" y="411055"/>
                  <a:pt x="520428" y="310382"/>
                  <a:pt x="481432" y="228527"/>
                </a:cubicBezTo>
                <a:lnTo>
                  <a:pt x="526741" y="183011"/>
                </a:lnTo>
                <a:cubicBezTo>
                  <a:pt x="588484" y="290544"/>
                  <a:pt x="573350" y="430244"/>
                  <a:pt x="481432" y="522111"/>
                </a:cubicBezTo>
                <a:cubicBezTo>
                  <a:pt x="371316" y="632054"/>
                  <a:pt x="192866" y="632054"/>
                  <a:pt x="82657" y="522111"/>
                </a:cubicBezTo>
                <a:cubicBezTo>
                  <a:pt x="-27552" y="412168"/>
                  <a:pt x="-27552" y="233997"/>
                  <a:pt x="82657" y="123961"/>
                </a:cubicBezTo>
                <a:cubicBezTo>
                  <a:pt x="128662" y="78028"/>
                  <a:pt x="186622" y="51307"/>
                  <a:pt x="246542" y="43775"/>
                </a:cubicBezTo>
                <a:close/>
                <a:moveTo>
                  <a:pt x="536061" y="0"/>
                </a:moveTo>
                <a:lnTo>
                  <a:pt x="544232" y="61368"/>
                </a:lnTo>
                <a:lnTo>
                  <a:pt x="605702" y="69526"/>
                </a:lnTo>
                <a:lnTo>
                  <a:pt x="524361" y="150732"/>
                </a:lnTo>
                <a:lnTo>
                  <a:pt x="498361" y="147302"/>
                </a:lnTo>
                <a:lnTo>
                  <a:pt x="337721" y="307767"/>
                </a:lnTo>
                <a:cubicBezTo>
                  <a:pt x="339021" y="312588"/>
                  <a:pt x="339764" y="317779"/>
                  <a:pt x="339764" y="323063"/>
                </a:cubicBezTo>
                <a:cubicBezTo>
                  <a:pt x="339764" y="354859"/>
                  <a:pt x="313950" y="380630"/>
                  <a:pt x="282101" y="380630"/>
                </a:cubicBezTo>
                <a:cubicBezTo>
                  <a:pt x="250251" y="380630"/>
                  <a:pt x="224437" y="354859"/>
                  <a:pt x="224437" y="323063"/>
                </a:cubicBezTo>
                <a:cubicBezTo>
                  <a:pt x="224437" y="291266"/>
                  <a:pt x="250251" y="265495"/>
                  <a:pt x="282101" y="265495"/>
                </a:cubicBezTo>
                <a:cubicBezTo>
                  <a:pt x="287393" y="265495"/>
                  <a:pt x="292500" y="266237"/>
                  <a:pt x="297422" y="267535"/>
                </a:cubicBezTo>
                <a:lnTo>
                  <a:pt x="458155" y="107162"/>
                </a:lnTo>
                <a:lnTo>
                  <a:pt x="454719" y="812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 lnSpcReduction="10000"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F6143973-BE83-4AD5-ABA5-EA7C74A44DCF}"/>
              </a:ext>
            </a:extLst>
          </p:cNvPr>
          <p:cNvSpPr/>
          <p:nvPr/>
        </p:nvSpPr>
        <p:spPr>
          <a:xfrm>
            <a:off x="3943958" y="3268881"/>
            <a:ext cx="739337" cy="7393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650CF3E7-090E-4BB7-A163-620662596CC2}"/>
              </a:ext>
            </a:extLst>
          </p:cNvPr>
          <p:cNvSpPr/>
          <p:nvPr/>
        </p:nvSpPr>
        <p:spPr bwMode="auto">
          <a:xfrm>
            <a:off x="4119194" y="3481174"/>
            <a:ext cx="388864" cy="314750"/>
          </a:xfrm>
          <a:custGeom>
            <a:avLst/>
            <a:gdLst>
              <a:gd name="connsiteX0" fmla="*/ 355420 w 607568"/>
              <a:gd name="connsiteY0" fmla="*/ 250307 h 491771"/>
              <a:gd name="connsiteX1" fmla="*/ 352312 w 607568"/>
              <a:gd name="connsiteY1" fmla="*/ 251812 h 491771"/>
              <a:gd name="connsiteX2" fmla="*/ 321042 w 607568"/>
              <a:gd name="connsiteY2" fmla="*/ 289814 h 491771"/>
              <a:gd name="connsiteX3" fmla="*/ 321513 w 607568"/>
              <a:gd name="connsiteY3" fmla="*/ 295364 h 491771"/>
              <a:gd name="connsiteX4" fmla="*/ 369736 w 607568"/>
              <a:gd name="connsiteY4" fmla="*/ 338257 h 491771"/>
              <a:gd name="connsiteX5" fmla="*/ 371997 w 607568"/>
              <a:gd name="connsiteY5" fmla="*/ 339104 h 491771"/>
              <a:gd name="connsiteX6" fmla="*/ 373127 w 607568"/>
              <a:gd name="connsiteY6" fmla="*/ 338916 h 491771"/>
              <a:gd name="connsiteX7" fmla="*/ 375293 w 607568"/>
              <a:gd name="connsiteY7" fmla="*/ 336282 h 491771"/>
              <a:gd name="connsiteX8" fmla="*/ 383676 w 607568"/>
              <a:gd name="connsiteY8" fmla="*/ 279467 h 491771"/>
              <a:gd name="connsiteX9" fmla="*/ 376424 w 607568"/>
              <a:gd name="connsiteY9" fmla="*/ 263287 h 491771"/>
              <a:gd name="connsiteX10" fmla="*/ 357681 w 607568"/>
              <a:gd name="connsiteY10" fmla="*/ 250965 h 491771"/>
              <a:gd name="connsiteX11" fmla="*/ 355420 w 607568"/>
              <a:gd name="connsiteY11" fmla="*/ 250307 h 491771"/>
              <a:gd name="connsiteX12" fmla="*/ 258879 w 607568"/>
              <a:gd name="connsiteY12" fmla="*/ 250307 h 491771"/>
              <a:gd name="connsiteX13" fmla="*/ 256712 w 607568"/>
              <a:gd name="connsiteY13" fmla="*/ 250965 h 491771"/>
              <a:gd name="connsiteX14" fmla="*/ 237969 w 607568"/>
              <a:gd name="connsiteY14" fmla="*/ 263287 h 491771"/>
              <a:gd name="connsiteX15" fmla="*/ 230717 w 607568"/>
              <a:gd name="connsiteY15" fmla="*/ 279467 h 491771"/>
              <a:gd name="connsiteX16" fmla="*/ 239100 w 607568"/>
              <a:gd name="connsiteY16" fmla="*/ 336282 h 491771"/>
              <a:gd name="connsiteX17" fmla="*/ 241266 w 607568"/>
              <a:gd name="connsiteY17" fmla="*/ 338916 h 491771"/>
              <a:gd name="connsiteX18" fmla="*/ 242396 w 607568"/>
              <a:gd name="connsiteY18" fmla="*/ 339104 h 491771"/>
              <a:gd name="connsiteX19" fmla="*/ 244657 w 607568"/>
              <a:gd name="connsiteY19" fmla="*/ 338257 h 491771"/>
              <a:gd name="connsiteX20" fmla="*/ 292880 w 607568"/>
              <a:gd name="connsiteY20" fmla="*/ 295364 h 491771"/>
              <a:gd name="connsiteX21" fmla="*/ 293351 w 607568"/>
              <a:gd name="connsiteY21" fmla="*/ 289814 h 491771"/>
              <a:gd name="connsiteX22" fmla="*/ 261987 w 607568"/>
              <a:gd name="connsiteY22" fmla="*/ 251812 h 491771"/>
              <a:gd name="connsiteX23" fmla="*/ 258879 w 607568"/>
              <a:gd name="connsiteY23" fmla="*/ 250307 h 491771"/>
              <a:gd name="connsiteX24" fmla="*/ 500465 w 607568"/>
              <a:gd name="connsiteY24" fmla="*/ 66049 h 491771"/>
              <a:gd name="connsiteX25" fmla="*/ 565743 w 607568"/>
              <a:gd name="connsiteY25" fmla="*/ 130673 h 491771"/>
              <a:gd name="connsiteX26" fmla="*/ 566120 w 607568"/>
              <a:gd name="connsiteY26" fmla="*/ 130673 h 491771"/>
              <a:gd name="connsiteX27" fmla="*/ 580250 w 607568"/>
              <a:gd name="connsiteY27" fmla="*/ 160962 h 491771"/>
              <a:gd name="connsiteX28" fmla="*/ 560939 w 607568"/>
              <a:gd name="connsiteY28" fmla="*/ 182503 h 491771"/>
              <a:gd name="connsiteX29" fmla="*/ 531927 w 607568"/>
              <a:gd name="connsiteY29" fmla="*/ 223799 h 491771"/>
              <a:gd name="connsiteX30" fmla="*/ 528253 w 607568"/>
              <a:gd name="connsiteY30" fmla="*/ 234240 h 491771"/>
              <a:gd name="connsiteX31" fmla="*/ 530797 w 607568"/>
              <a:gd name="connsiteY31" fmla="*/ 246281 h 491771"/>
              <a:gd name="connsiteX32" fmla="*/ 545868 w 607568"/>
              <a:gd name="connsiteY32" fmla="*/ 261143 h 491771"/>
              <a:gd name="connsiteX33" fmla="*/ 558961 w 607568"/>
              <a:gd name="connsiteY33" fmla="*/ 263777 h 491771"/>
              <a:gd name="connsiteX34" fmla="*/ 597299 w 607568"/>
              <a:gd name="connsiteY34" fmla="*/ 301968 h 491771"/>
              <a:gd name="connsiteX35" fmla="*/ 607002 w 607568"/>
              <a:gd name="connsiteY35" fmla="*/ 350788 h 491771"/>
              <a:gd name="connsiteX36" fmla="*/ 601256 w 607568"/>
              <a:gd name="connsiteY36" fmla="*/ 373835 h 491771"/>
              <a:gd name="connsiteX37" fmla="*/ 579685 w 607568"/>
              <a:gd name="connsiteY37" fmla="*/ 384088 h 491771"/>
              <a:gd name="connsiteX38" fmla="*/ 490386 w 607568"/>
              <a:gd name="connsiteY38" fmla="*/ 384088 h 491771"/>
              <a:gd name="connsiteX39" fmla="*/ 467685 w 607568"/>
              <a:gd name="connsiteY39" fmla="*/ 310058 h 491771"/>
              <a:gd name="connsiteX40" fmla="*/ 431702 w 607568"/>
              <a:gd name="connsiteY40" fmla="*/ 267445 h 491771"/>
              <a:gd name="connsiteX41" fmla="*/ 441969 w 607568"/>
              <a:gd name="connsiteY41" fmla="*/ 263777 h 491771"/>
              <a:gd name="connsiteX42" fmla="*/ 455157 w 607568"/>
              <a:gd name="connsiteY42" fmla="*/ 261237 h 491771"/>
              <a:gd name="connsiteX43" fmla="*/ 470228 w 607568"/>
              <a:gd name="connsiteY43" fmla="*/ 246281 h 491771"/>
              <a:gd name="connsiteX44" fmla="*/ 472677 w 607568"/>
              <a:gd name="connsiteY44" fmla="*/ 234240 h 491771"/>
              <a:gd name="connsiteX45" fmla="*/ 469098 w 607568"/>
              <a:gd name="connsiteY45" fmla="*/ 223893 h 491771"/>
              <a:gd name="connsiteX46" fmla="*/ 439991 w 607568"/>
              <a:gd name="connsiteY46" fmla="*/ 182503 h 491771"/>
              <a:gd name="connsiteX47" fmla="*/ 426144 w 607568"/>
              <a:gd name="connsiteY47" fmla="*/ 172720 h 491771"/>
              <a:gd name="connsiteX48" fmla="*/ 441404 w 607568"/>
              <a:gd name="connsiteY48" fmla="*/ 143278 h 491771"/>
              <a:gd name="connsiteX49" fmla="*/ 439708 w 607568"/>
              <a:gd name="connsiteY49" fmla="*/ 107438 h 491771"/>
              <a:gd name="connsiteX50" fmla="*/ 500465 w 607568"/>
              <a:gd name="connsiteY50" fmla="*/ 66049 h 491771"/>
              <a:gd name="connsiteX51" fmla="*/ 107100 w 607568"/>
              <a:gd name="connsiteY51" fmla="*/ 66049 h 491771"/>
              <a:gd name="connsiteX52" fmla="*/ 171341 w 607568"/>
              <a:gd name="connsiteY52" fmla="*/ 123618 h 491771"/>
              <a:gd name="connsiteX53" fmla="*/ 172849 w 607568"/>
              <a:gd name="connsiteY53" fmla="*/ 143278 h 491771"/>
              <a:gd name="connsiteX54" fmla="*/ 184246 w 607568"/>
              <a:gd name="connsiteY54" fmla="*/ 168205 h 491771"/>
              <a:gd name="connsiteX55" fmla="*/ 167574 w 607568"/>
              <a:gd name="connsiteY55" fmla="*/ 182503 h 491771"/>
              <a:gd name="connsiteX56" fmla="*/ 138468 w 607568"/>
              <a:gd name="connsiteY56" fmla="*/ 223799 h 491771"/>
              <a:gd name="connsiteX57" fmla="*/ 134794 w 607568"/>
              <a:gd name="connsiteY57" fmla="*/ 234240 h 491771"/>
              <a:gd name="connsiteX58" fmla="*/ 137337 w 607568"/>
              <a:gd name="connsiteY58" fmla="*/ 246281 h 491771"/>
              <a:gd name="connsiteX59" fmla="*/ 152408 w 607568"/>
              <a:gd name="connsiteY59" fmla="*/ 261143 h 491771"/>
              <a:gd name="connsiteX60" fmla="*/ 165596 w 607568"/>
              <a:gd name="connsiteY60" fmla="*/ 263777 h 491771"/>
              <a:gd name="connsiteX61" fmla="*/ 179442 w 607568"/>
              <a:gd name="connsiteY61" fmla="*/ 268856 h 491771"/>
              <a:gd name="connsiteX62" fmla="*/ 146662 w 607568"/>
              <a:gd name="connsiteY62" fmla="*/ 310058 h 491771"/>
              <a:gd name="connsiteX63" fmla="*/ 123867 w 607568"/>
              <a:gd name="connsiteY63" fmla="*/ 384088 h 491771"/>
              <a:gd name="connsiteX64" fmla="*/ 27883 w 607568"/>
              <a:gd name="connsiteY64" fmla="*/ 384088 h 491771"/>
              <a:gd name="connsiteX65" fmla="*/ 6312 w 607568"/>
              <a:gd name="connsiteY65" fmla="*/ 373835 h 491771"/>
              <a:gd name="connsiteX66" fmla="*/ 566 w 607568"/>
              <a:gd name="connsiteY66" fmla="*/ 350788 h 491771"/>
              <a:gd name="connsiteX67" fmla="*/ 10268 w 607568"/>
              <a:gd name="connsiteY67" fmla="*/ 301968 h 491771"/>
              <a:gd name="connsiteX68" fmla="*/ 48606 w 607568"/>
              <a:gd name="connsiteY68" fmla="*/ 263777 h 491771"/>
              <a:gd name="connsiteX69" fmla="*/ 61699 w 607568"/>
              <a:gd name="connsiteY69" fmla="*/ 261237 h 491771"/>
              <a:gd name="connsiteX70" fmla="*/ 76770 w 607568"/>
              <a:gd name="connsiteY70" fmla="*/ 246281 h 491771"/>
              <a:gd name="connsiteX71" fmla="*/ 79313 w 607568"/>
              <a:gd name="connsiteY71" fmla="*/ 234240 h 491771"/>
              <a:gd name="connsiteX72" fmla="*/ 75639 w 607568"/>
              <a:gd name="connsiteY72" fmla="*/ 223893 h 491771"/>
              <a:gd name="connsiteX73" fmla="*/ 46628 w 607568"/>
              <a:gd name="connsiteY73" fmla="*/ 182503 h 491771"/>
              <a:gd name="connsiteX74" fmla="*/ 27318 w 607568"/>
              <a:gd name="connsiteY74" fmla="*/ 160962 h 491771"/>
              <a:gd name="connsiteX75" fmla="*/ 41447 w 607568"/>
              <a:gd name="connsiteY75" fmla="*/ 130673 h 491771"/>
              <a:gd name="connsiteX76" fmla="*/ 41824 w 607568"/>
              <a:gd name="connsiteY76" fmla="*/ 130673 h 491771"/>
              <a:gd name="connsiteX77" fmla="*/ 107100 w 607568"/>
              <a:gd name="connsiteY77" fmla="*/ 66049 h 491771"/>
              <a:gd name="connsiteX78" fmla="*/ 298626 w 607568"/>
              <a:gd name="connsiteY78" fmla="*/ 0 h 491771"/>
              <a:gd name="connsiteX79" fmla="*/ 315956 w 607568"/>
              <a:gd name="connsiteY79" fmla="*/ 0 h 491771"/>
              <a:gd name="connsiteX80" fmla="*/ 401854 w 607568"/>
              <a:gd name="connsiteY80" fmla="*/ 85787 h 491771"/>
              <a:gd name="connsiteX81" fmla="*/ 401854 w 607568"/>
              <a:gd name="connsiteY81" fmla="*/ 95476 h 491771"/>
              <a:gd name="connsiteX82" fmla="*/ 421633 w 607568"/>
              <a:gd name="connsiteY82" fmla="*/ 138840 h 491771"/>
              <a:gd name="connsiteX83" fmla="*/ 417960 w 607568"/>
              <a:gd name="connsiteY83" fmla="*/ 149281 h 491771"/>
              <a:gd name="connsiteX84" fmla="*/ 417112 w 607568"/>
              <a:gd name="connsiteY84" fmla="*/ 151068 h 491771"/>
              <a:gd name="connsiteX85" fmla="*/ 411273 w 607568"/>
              <a:gd name="connsiteY85" fmla="*/ 159534 h 491771"/>
              <a:gd name="connsiteX86" fmla="*/ 410896 w 607568"/>
              <a:gd name="connsiteY86" fmla="*/ 159910 h 491771"/>
              <a:gd name="connsiteX87" fmla="*/ 394037 w 607568"/>
              <a:gd name="connsiteY87" fmla="*/ 169787 h 491771"/>
              <a:gd name="connsiteX88" fmla="*/ 384900 w 607568"/>
              <a:gd name="connsiteY88" fmla="*/ 189541 h 491771"/>
              <a:gd name="connsiteX89" fmla="*/ 384712 w 607568"/>
              <a:gd name="connsiteY89" fmla="*/ 189823 h 491771"/>
              <a:gd name="connsiteX90" fmla="*/ 373316 w 607568"/>
              <a:gd name="connsiteY90" fmla="*/ 207131 h 491771"/>
              <a:gd name="connsiteX91" fmla="*/ 372750 w 607568"/>
              <a:gd name="connsiteY91" fmla="*/ 207789 h 491771"/>
              <a:gd name="connsiteX92" fmla="*/ 359847 w 607568"/>
              <a:gd name="connsiteY92" fmla="*/ 222275 h 491771"/>
              <a:gd name="connsiteX93" fmla="*/ 359188 w 607568"/>
              <a:gd name="connsiteY93" fmla="*/ 222934 h 491771"/>
              <a:gd name="connsiteX94" fmla="*/ 345154 w 607568"/>
              <a:gd name="connsiteY94" fmla="*/ 234598 h 491771"/>
              <a:gd name="connsiteX95" fmla="*/ 345625 w 607568"/>
              <a:gd name="connsiteY95" fmla="*/ 236855 h 491771"/>
              <a:gd name="connsiteX96" fmla="*/ 348639 w 607568"/>
              <a:gd name="connsiteY96" fmla="*/ 235538 h 491771"/>
              <a:gd name="connsiteX97" fmla="*/ 355514 w 607568"/>
              <a:gd name="connsiteY97" fmla="*/ 234033 h 491771"/>
              <a:gd name="connsiteX98" fmla="*/ 366628 w 607568"/>
              <a:gd name="connsiteY98" fmla="*/ 237326 h 491771"/>
              <a:gd name="connsiteX99" fmla="*/ 385371 w 607568"/>
              <a:gd name="connsiteY99" fmla="*/ 249648 h 491771"/>
              <a:gd name="connsiteX100" fmla="*/ 399876 w 607568"/>
              <a:gd name="connsiteY100" fmla="*/ 279373 h 491771"/>
              <a:gd name="connsiteX101" fmla="*/ 430016 w 607568"/>
              <a:gd name="connsiteY101" fmla="*/ 289814 h 491771"/>
              <a:gd name="connsiteX102" fmla="*/ 448382 w 607568"/>
              <a:gd name="connsiteY102" fmla="*/ 316058 h 491771"/>
              <a:gd name="connsiteX103" fmla="*/ 481630 w 607568"/>
              <a:gd name="connsiteY103" fmla="*/ 424515 h 491771"/>
              <a:gd name="connsiteX104" fmla="*/ 483891 w 607568"/>
              <a:gd name="connsiteY104" fmla="*/ 436461 h 491771"/>
              <a:gd name="connsiteX105" fmla="*/ 473718 w 607568"/>
              <a:gd name="connsiteY105" fmla="*/ 470700 h 491771"/>
              <a:gd name="connsiteX106" fmla="*/ 443956 w 607568"/>
              <a:gd name="connsiteY106" fmla="*/ 490360 h 491771"/>
              <a:gd name="connsiteX107" fmla="*/ 431805 w 607568"/>
              <a:gd name="connsiteY107" fmla="*/ 491771 h 491771"/>
              <a:gd name="connsiteX108" fmla="*/ 325375 w 607568"/>
              <a:gd name="connsiteY108" fmla="*/ 491771 h 491771"/>
              <a:gd name="connsiteX109" fmla="*/ 337430 w 607568"/>
              <a:gd name="connsiteY109" fmla="*/ 415296 h 491771"/>
              <a:gd name="connsiteX110" fmla="*/ 334605 w 607568"/>
              <a:gd name="connsiteY110" fmla="*/ 389052 h 491771"/>
              <a:gd name="connsiteX111" fmla="*/ 323962 w 607568"/>
              <a:gd name="connsiteY111" fmla="*/ 360927 h 491771"/>
              <a:gd name="connsiteX112" fmla="*/ 337430 w 607568"/>
              <a:gd name="connsiteY112" fmla="*/ 347476 h 491771"/>
              <a:gd name="connsiteX113" fmla="*/ 307196 w 607568"/>
              <a:gd name="connsiteY113" fmla="*/ 317281 h 491771"/>
              <a:gd name="connsiteX114" fmla="*/ 276868 w 607568"/>
              <a:gd name="connsiteY114" fmla="*/ 347476 h 491771"/>
              <a:gd name="connsiteX115" fmla="*/ 290337 w 607568"/>
              <a:gd name="connsiteY115" fmla="*/ 360927 h 491771"/>
              <a:gd name="connsiteX116" fmla="*/ 279694 w 607568"/>
              <a:gd name="connsiteY116" fmla="*/ 389052 h 491771"/>
              <a:gd name="connsiteX117" fmla="*/ 276963 w 607568"/>
              <a:gd name="connsiteY117" fmla="*/ 415296 h 491771"/>
              <a:gd name="connsiteX118" fmla="*/ 288736 w 607568"/>
              <a:gd name="connsiteY118" fmla="*/ 491771 h 491771"/>
              <a:gd name="connsiteX119" fmla="*/ 182493 w 607568"/>
              <a:gd name="connsiteY119" fmla="*/ 491771 h 491771"/>
              <a:gd name="connsiteX120" fmla="*/ 170437 w 607568"/>
              <a:gd name="connsiteY120" fmla="*/ 490360 h 491771"/>
              <a:gd name="connsiteX121" fmla="*/ 140675 w 607568"/>
              <a:gd name="connsiteY121" fmla="*/ 470700 h 491771"/>
              <a:gd name="connsiteX122" fmla="*/ 132669 w 607568"/>
              <a:gd name="connsiteY122" fmla="*/ 424515 h 491771"/>
              <a:gd name="connsiteX123" fmla="*/ 166011 w 607568"/>
              <a:gd name="connsiteY123" fmla="*/ 316058 h 491771"/>
              <a:gd name="connsiteX124" fmla="*/ 184377 w 607568"/>
              <a:gd name="connsiteY124" fmla="*/ 289814 h 491771"/>
              <a:gd name="connsiteX125" fmla="*/ 214517 w 607568"/>
              <a:gd name="connsiteY125" fmla="*/ 279373 h 491771"/>
              <a:gd name="connsiteX126" fmla="*/ 214517 w 607568"/>
              <a:gd name="connsiteY126" fmla="*/ 279279 h 491771"/>
              <a:gd name="connsiteX127" fmla="*/ 229022 w 607568"/>
              <a:gd name="connsiteY127" fmla="*/ 249648 h 491771"/>
              <a:gd name="connsiteX128" fmla="*/ 247765 w 607568"/>
              <a:gd name="connsiteY128" fmla="*/ 237326 h 491771"/>
              <a:gd name="connsiteX129" fmla="*/ 258879 w 607568"/>
              <a:gd name="connsiteY129" fmla="*/ 234033 h 491771"/>
              <a:gd name="connsiteX130" fmla="*/ 265754 w 607568"/>
              <a:gd name="connsiteY130" fmla="*/ 235538 h 491771"/>
              <a:gd name="connsiteX131" fmla="*/ 268768 w 607568"/>
              <a:gd name="connsiteY131" fmla="*/ 236855 h 491771"/>
              <a:gd name="connsiteX132" fmla="*/ 269239 w 607568"/>
              <a:gd name="connsiteY132" fmla="*/ 234598 h 491771"/>
              <a:gd name="connsiteX133" fmla="*/ 255205 w 607568"/>
              <a:gd name="connsiteY133" fmla="*/ 222934 h 491771"/>
              <a:gd name="connsiteX134" fmla="*/ 254546 w 607568"/>
              <a:gd name="connsiteY134" fmla="*/ 222275 h 491771"/>
              <a:gd name="connsiteX135" fmla="*/ 241548 w 607568"/>
              <a:gd name="connsiteY135" fmla="*/ 207789 h 491771"/>
              <a:gd name="connsiteX136" fmla="*/ 241077 w 607568"/>
              <a:gd name="connsiteY136" fmla="*/ 207225 h 491771"/>
              <a:gd name="connsiteX137" fmla="*/ 229681 w 607568"/>
              <a:gd name="connsiteY137" fmla="*/ 189823 h 491771"/>
              <a:gd name="connsiteX138" fmla="*/ 229493 w 607568"/>
              <a:gd name="connsiteY138" fmla="*/ 189635 h 491771"/>
              <a:gd name="connsiteX139" fmla="*/ 220356 w 607568"/>
              <a:gd name="connsiteY139" fmla="*/ 169787 h 491771"/>
              <a:gd name="connsiteX140" fmla="*/ 203497 w 607568"/>
              <a:gd name="connsiteY140" fmla="*/ 159910 h 491771"/>
              <a:gd name="connsiteX141" fmla="*/ 203120 w 607568"/>
              <a:gd name="connsiteY141" fmla="*/ 159534 h 491771"/>
              <a:gd name="connsiteX142" fmla="*/ 197281 w 607568"/>
              <a:gd name="connsiteY142" fmla="*/ 151068 h 491771"/>
              <a:gd name="connsiteX143" fmla="*/ 196433 w 607568"/>
              <a:gd name="connsiteY143" fmla="*/ 149281 h 491771"/>
              <a:gd name="connsiteX144" fmla="*/ 192666 w 607568"/>
              <a:gd name="connsiteY144" fmla="*/ 138840 h 491771"/>
              <a:gd name="connsiteX145" fmla="*/ 212727 w 607568"/>
              <a:gd name="connsiteY145" fmla="*/ 95476 h 491771"/>
              <a:gd name="connsiteX146" fmla="*/ 212727 w 607568"/>
              <a:gd name="connsiteY146" fmla="*/ 85787 h 491771"/>
              <a:gd name="connsiteX147" fmla="*/ 298626 w 607568"/>
              <a:gd name="connsiteY147" fmla="*/ 0 h 49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7568" h="491771">
                <a:moveTo>
                  <a:pt x="355420" y="250307"/>
                </a:moveTo>
                <a:cubicBezTo>
                  <a:pt x="354290" y="250307"/>
                  <a:pt x="353160" y="250871"/>
                  <a:pt x="352312" y="251812"/>
                </a:cubicBezTo>
                <a:lnTo>
                  <a:pt x="321042" y="289814"/>
                </a:lnTo>
                <a:cubicBezTo>
                  <a:pt x="319723" y="291507"/>
                  <a:pt x="319912" y="293953"/>
                  <a:pt x="321513" y="295364"/>
                </a:cubicBezTo>
                <a:lnTo>
                  <a:pt x="369736" y="338257"/>
                </a:lnTo>
                <a:cubicBezTo>
                  <a:pt x="370396" y="338822"/>
                  <a:pt x="371149" y="339104"/>
                  <a:pt x="371997" y="339104"/>
                </a:cubicBezTo>
                <a:cubicBezTo>
                  <a:pt x="372374" y="339104"/>
                  <a:pt x="372750" y="339010"/>
                  <a:pt x="373127" y="338916"/>
                </a:cubicBezTo>
                <a:cubicBezTo>
                  <a:pt x="374257" y="338539"/>
                  <a:pt x="375105" y="337505"/>
                  <a:pt x="375293" y="336282"/>
                </a:cubicBezTo>
                <a:lnTo>
                  <a:pt x="383676" y="279467"/>
                </a:lnTo>
                <a:cubicBezTo>
                  <a:pt x="384618" y="273164"/>
                  <a:pt x="381792" y="266768"/>
                  <a:pt x="376424" y="263287"/>
                </a:cubicBezTo>
                <a:lnTo>
                  <a:pt x="357681" y="250965"/>
                </a:lnTo>
                <a:cubicBezTo>
                  <a:pt x="357021" y="250495"/>
                  <a:pt x="356174" y="250307"/>
                  <a:pt x="355420" y="250307"/>
                </a:cubicBezTo>
                <a:close/>
                <a:moveTo>
                  <a:pt x="258879" y="250307"/>
                </a:moveTo>
                <a:cubicBezTo>
                  <a:pt x="258125" y="250307"/>
                  <a:pt x="257372" y="250495"/>
                  <a:pt x="256712" y="250965"/>
                </a:cubicBezTo>
                <a:lnTo>
                  <a:pt x="237969" y="263287"/>
                </a:lnTo>
                <a:cubicBezTo>
                  <a:pt x="232601" y="266768"/>
                  <a:pt x="229775" y="273164"/>
                  <a:pt x="230717" y="279467"/>
                </a:cubicBezTo>
                <a:lnTo>
                  <a:pt x="239100" y="336282"/>
                </a:lnTo>
                <a:cubicBezTo>
                  <a:pt x="239288" y="337505"/>
                  <a:pt x="240136" y="338539"/>
                  <a:pt x="241266" y="338916"/>
                </a:cubicBezTo>
                <a:cubicBezTo>
                  <a:pt x="241643" y="339010"/>
                  <a:pt x="242019" y="339104"/>
                  <a:pt x="242396" y="339104"/>
                </a:cubicBezTo>
                <a:cubicBezTo>
                  <a:pt x="243244" y="339104"/>
                  <a:pt x="243997" y="338822"/>
                  <a:pt x="244657" y="338257"/>
                </a:cubicBezTo>
                <a:lnTo>
                  <a:pt x="292880" y="295364"/>
                </a:lnTo>
                <a:cubicBezTo>
                  <a:pt x="294481" y="293953"/>
                  <a:pt x="294670" y="291507"/>
                  <a:pt x="293351" y="289814"/>
                </a:cubicBezTo>
                <a:lnTo>
                  <a:pt x="261987" y="251812"/>
                </a:lnTo>
                <a:cubicBezTo>
                  <a:pt x="261233" y="250871"/>
                  <a:pt x="260103" y="250307"/>
                  <a:pt x="258879" y="250307"/>
                </a:cubicBezTo>
                <a:close/>
                <a:moveTo>
                  <a:pt x="500465" y="66049"/>
                </a:moveTo>
                <a:cubicBezTo>
                  <a:pt x="548129" y="66049"/>
                  <a:pt x="562447" y="93516"/>
                  <a:pt x="565743" y="130673"/>
                </a:cubicBezTo>
                <a:cubicBezTo>
                  <a:pt x="565932" y="130673"/>
                  <a:pt x="566026" y="130673"/>
                  <a:pt x="566120" y="130673"/>
                </a:cubicBezTo>
                <a:cubicBezTo>
                  <a:pt x="577141" y="133118"/>
                  <a:pt x="583358" y="146664"/>
                  <a:pt x="580250" y="160962"/>
                </a:cubicBezTo>
                <a:cubicBezTo>
                  <a:pt x="577706" y="172532"/>
                  <a:pt x="569700" y="180904"/>
                  <a:pt x="560939" y="182503"/>
                </a:cubicBezTo>
                <a:cubicBezTo>
                  <a:pt x="554628" y="199529"/>
                  <a:pt x="543796" y="214016"/>
                  <a:pt x="531927" y="223799"/>
                </a:cubicBezTo>
                <a:cubicBezTo>
                  <a:pt x="528913" y="226338"/>
                  <a:pt x="527500" y="230383"/>
                  <a:pt x="528253" y="234240"/>
                </a:cubicBezTo>
                <a:lnTo>
                  <a:pt x="530797" y="246281"/>
                </a:lnTo>
                <a:cubicBezTo>
                  <a:pt x="532304" y="253806"/>
                  <a:pt x="538238" y="259732"/>
                  <a:pt x="545868" y="261143"/>
                </a:cubicBezTo>
                <a:lnTo>
                  <a:pt x="558961" y="263777"/>
                </a:lnTo>
                <a:cubicBezTo>
                  <a:pt x="578366" y="267634"/>
                  <a:pt x="593437" y="282684"/>
                  <a:pt x="597299" y="301968"/>
                </a:cubicBezTo>
                <a:lnTo>
                  <a:pt x="607002" y="350788"/>
                </a:lnTo>
                <a:cubicBezTo>
                  <a:pt x="608697" y="358972"/>
                  <a:pt x="606531" y="367438"/>
                  <a:pt x="601256" y="373835"/>
                </a:cubicBezTo>
                <a:cubicBezTo>
                  <a:pt x="595981" y="380325"/>
                  <a:pt x="588068" y="384088"/>
                  <a:pt x="579685" y="384088"/>
                </a:cubicBezTo>
                <a:lnTo>
                  <a:pt x="490386" y="384088"/>
                </a:lnTo>
                <a:lnTo>
                  <a:pt x="467685" y="310058"/>
                </a:lnTo>
                <a:cubicBezTo>
                  <a:pt x="461845" y="291150"/>
                  <a:pt x="448563" y="276194"/>
                  <a:pt x="431702" y="267445"/>
                </a:cubicBezTo>
                <a:cubicBezTo>
                  <a:pt x="434999" y="265940"/>
                  <a:pt x="438295" y="264529"/>
                  <a:pt x="441969" y="263777"/>
                </a:cubicBezTo>
                <a:lnTo>
                  <a:pt x="455157" y="261237"/>
                </a:lnTo>
                <a:cubicBezTo>
                  <a:pt x="462692" y="259732"/>
                  <a:pt x="468627" y="253806"/>
                  <a:pt x="470228" y="246281"/>
                </a:cubicBezTo>
                <a:lnTo>
                  <a:pt x="472677" y="234240"/>
                </a:lnTo>
                <a:cubicBezTo>
                  <a:pt x="473525" y="230383"/>
                  <a:pt x="472112" y="226338"/>
                  <a:pt x="469098" y="223893"/>
                </a:cubicBezTo>
                <a:cubicBezTo>
                  <a:pt x="457229" y="214016"/>
                  <a:pt x="446302" y="199529"/>
                  <a:pt x="439991" y="182503"/>
                </a:cubicBezTo>
                <a:cubicBezTo>
                  <a:pt x="434716" y="181563"/>
                  <a:pt x="429818" y="177894"/>
                  <a:pt x="426144" y="172720"/>
                </a:cubicBezTo>
                <a:cubicBezTo>
                  <a:pt x="433303" y="164725"/>
                  <a:pt x="438861" y="154754"/>
                  <a:pt x="441404" y="143278"/>
                </a:cubicBezTo>
                <a:cubicBezTo>
                  <a:pt x="444324" y="130485"/>
                  <a:pt x="443476" y="118068"/>
                  <a:pt x="439708" y="107438"/>
                </a:cubicBezTo>
                <a:cubicBezTo>
                  <a:pt x="447244" y="82699"/>
                  <a:pt x="464200" y="66049"/>
                  <a:pt x="500465" y="66049"/>
                </a:cubicBezTo>
                <a:close/>
                <a:moveTo>
                  <a:pt x="107100" y="66049"/>
                </a:moveTo>
                <a:cubicBezTo>
                  <a:pt x="151561" y="66049"/>
                  <a:pt x="166820" y="90130"/>
                  <a:pt x="171341" y="123618"/>
                </a:cubicBezTo>
                <a:cubicBezTo>
                  <a:pt x="170965" y="129920"/>
                  <a:pt x="171436" y="136505"/>
                  <a:pt x="172849" y="143278"/>
                </a:cubicBezTo>
                <a:cubicBezTo>
                  <a:pt x="174921" y="152590"/>
                  <a:pt x="178971" y="161056"/>
                  <a:pt x="184246" y="168205"/>
                </a:cubicBezTo>
                <a:cubicBezTo>
                  <a:pt x="180573" y="175919"/>
                  <a:pt x="174356" y="181281"/>
                  <a:pt x="167574" y="182503"/>
                </a:cubicBezTo>
                <a:cubicBezTo>
                  <a:pt x="161263" y="199529"/>
                  <a:pt x="150336" y="214016"/>
                  <a:pt x="138468" y="223799"/>
                </a:cubicBezTo>
                <a:cubicBezTo>
                  <a:pt x="135453" y="226338"/>
                  <a:pt x="134040" y="230383"/>
                  <a:pt x="134794" y="234240"/>
                </a:cubicBezTo>
                <a:lnTo>
                  <a:pt x="137337" y="246281"/>
                </a:lnTo>
                <a:cubicBezTo>
                  <a:pt x="138939" y="253806"/>
                  <a:pt x="144873" y="259732"/>
                  <a:pt x="152408" y="261143"/>
                </a:cubicBezTo>
                <a:lnTo>
                  <a:pt x="165596" y="263777"/>
                </a:lnTo>
                <a:cubicBezTo>
                  <a:pt x="170494" y="264812"/>
                  <a:pt x="175203" y="266505"/>
                  <a:pt x="179442" y="268856"/>
                </a:cubicBezTo>
                <a:cubicBezTo>
                  <a:pt x="164088" y="277793"/>
                  <a:pt x="152126" y="292279"/>
                  <a:pt x="146662" y="310058"/>
                </a:cubicBezTo>
                <a:lnTo>
                  <a:pt x="123867" y="384088"/>
                </a:lnTo>
                <a:lnTo>
                  <a:pt x="27883" y="384088"/>
                </a:lnTo>
                <a:cubicBezTo>
                  <a:pt x="19499" y="384088"/>
                  <a:pt x="11587" y="380325"/>
                  <a:pt x="6312" y="373835"/>
                </a:cubicBezTo>
                <a:cubicBezTo>
                  <a:pt x="1037" y="367438"/>
                  <a:pt x="-1129" y="358972"/>
                  <a:pt x="566" y="350788"/>
                </a:cubicBezTo>
                <a:lnTo>
                  <a:pt x="10268" y="301968"/>
                </a:lnTo>
                <a:cubicBezTo>
                  <a:pt x="14130" y="282684"/>
                  <a:pt x="29202" y="267634"/>
                  <a:pt x="48606" y="263777"/>
                </a:cubicBezTo>
                <a:lnTo>
                  <a:pt x="61699" y="261237"/>
                </a:lnTo>
                <a:cubicBezTo>
                  <a:pt x="69328" y="259732"/>
                  <a:pt x="75263" y="253806"/>
                  <a:pt x="76770" y="246281"/>
                </a:cubicBezTo>
                <a:lnTo>
                  <a:pt x="79313" y="234240"/>
                </a:lnTo>
                <a:cubicBezTo>
                  <a:pt x="80067" y="230383"/>
                  <a:pt x="78654" y="226338"/>
                  <a:pt x="75639" y="223893"/>
                </a:cubicBezTo>
                <a:cubicBezTo>
                  <a:pt x="63771" y="214016"/>
                  <a:pt x="52939" y="199623"/>
                  <a:pt x="46628" y="182503"/>
                </a:cubicBezTo>
                <a:cubicBezTo>
                  <a:pt x="37867" y="180904"/>
                  <a:pt x="29861" y="172532"/>
                  <a:pt x="27318" y="160962"/>
                </a:cubicBezTo>
                <a:cubicBezTo>
                  <a:pt x="24115" y="146664"/>
                  <a:pt x="30426" y="133118"/>
                  <a:pt x="41447" y="130673"/>
                </a:cubicBezTo>
                <a:cubicBezTo>
                  <a:pt x="41541" y="130673"/>
                  <a:pt x="41729" y="130673"/>
                  <a:pt x="41824" y="130673"/>
                </a:cubicBezTo>
                <a:cubicBezTo>
                  <a:pt x="45403" y="93516"/>
                  <a:pt x="60192" y="66049"/>
                  <a:pt x="107100" y="66049"/>
                </a:cubicBezTo>
                <a:close/>
                <a:moveTo>
                  <a:pt x="298626" y="0"/>
                </a:moveTo>
                <a:lnTo>
                  <a:pt x="315956" y="0"/>
                </a:lnTo>
                <a:cubicBezTo>
                  <a:pt x="363426" y="0"/>
                  <a:pt x="401854" y="38378"/>
                  <a:pt x="401854" y="85787"/>
                </a:cubicBezTo>
                <a:lnTo>
                  <a:pt x="401854" y="95476"/>
                </a:lnTo>
                <a:cubicBezTo>
                  <a:pt x="417301" y="99238"/>
                  <a:pt x="426154" y="118522"/>
                  <a:pt x="421633" y="138840"/>
                </a:cubicBezTo>
                <a:cubicBezTo>
                  <a:pt x="420880" y="142602"/>
                  <a:pt x="419467" y="146083"/>
                  <a:pt x="417960" y="149281"/>
                </a:cubicBezTo>
                <a:cubicBezTo>
                  <a:pt x="417677" y="149939"/>
                  <a:pt x="417395" y="150504"/>
                  <a:pt x="417112" y="151068"/>
                </a:cubicBezTo>
                <a:cubicBezTo>
                  <a:pt x="415417" y="154172"/>
                  <a:pt x="413533" y="157088"/>
                  <a:pt x="411273" y="159534"/>
                </a:cubicBezTo>
                <a:cubicBezTo>
                  <a:pt x="411179" y="159628"/>
                  <a:pt x="410990" y="159816"/>
                  <a:pt x="410896" y="159910"/>
                </a:cubicBezTo>
                <a:cubicBezTo>
                  <a:pt x="406092" y="165084"/>
                  <a:pt x="400159" y="168658"/>
                  <a:pt x="394037" y="169787"/>
                </a:cubicBezTo>
                <a:cubicBezTo>
                  <a:pt x="391494" y="176654"/>
                  <a:pt x="388385" y="183332"/>
                  <a:pt x="384900" y="189541"/>
                </a:cubicBezTo>
                <a:cubicBezTo>
                  <a:pt x="384806" y="189635"/>
                  <a:pt x="384806" y="189729"/>
                  <a:pt x="384712" y="189823"/>
                </a:cubicBezTo>
                <a:cubicBezTo>
                  <a:pt x="381227" y="196031"/>
                  <a:pt x="377460" y="201769"/>
                  <a:pt x="373316" y="207131"/>
                </a:cubicBezTo>
                <a:cubicBezTo>
                  <a:pt x="373127" y="207413"/>
                  <a:pt x="372939" y="207601"/>
                  <a:pt x="372750" y="207789"/>
                </a:cubicBezTo>
                <a:cubicBezTo>
                  <a:pt x="368700" y="213057"/>
                  <a:pt x="364368" y="217948"/>
                  <a:pt x="359847" y="222275"/>
                </a:cubicBezTo>
                <a:cubicBezTo>
                  <a:pt x="359658" y="222463"/>
                  <a:pt x="359376" y="222651"/>
                  <a:pt x="359188" y="222934"/>
                </a:cubicBezTo>
                <a:cubicBezTo>
                  <a:pt x="354667" y="227261"/>
                  <a:pt x="349957" y="231211"/>
                  <a:pt x="345154" y="234598"/>
                </a:cubicBezTo>
                <a:lnTo>
                  <a:pt x="345625" y="236855"/>
                </a:lnTo>
                <a:cubicBezTo>
                  <a:pt x="346567" y="236385"/>
                  <a:pt x="347603" y="235915"/>
                  <a:pt x="348639" y="235538"/>
                </a:cubicBezTo>
                <a:cubicBezTo>
                  <a:pt x="350899" y="234786"/>
                  <a:pt x="353065" y="234033"/>
                  <a:pt x="355514" y="234033"/>
                </a:cubicBezTo>
                <a:cubicBezTo>
                  <a:pt x="359470" y="234033"/>
                  <a:pt x="363238" y="235162"/>
                  <a:pt x="366628" y="237326"/>
                </a:cubicBezTo>
                <a:cubicBezTo>
                  <a:pt x="366628" y="237326"/>
                  <a:pt x="380756" y="246450"/>
                  <a:pt x="385371" y="249648"/>
                </a:cubicBezTo>
                <a:cubicBezTo>
                  <a:pt x="401854" y="261030"/>
                  <a:pt x="399876" y="279373"/>
                  <a:pt x="399876" y="279373"/>
                </a:cubicBezTo>
                <a:cubicBezTo>
                  <a:pt x="410990" y="279655"/>
                  <a:pt x="421822" y="283041"/>
                  <a:pt x="430016" y="289814"/>
                </a:cubicBezTo>
                <a:cubicBezTo>
                  <a:pt x="445180" y="302324"/>
                  <a:pt x="447535" y="313330"/>
                  <a:pt x="448382" y="316058"/>
                </a:cubicBezTo>
                <a:lnTo>
                  <a:pt x="481630" y="424515"/>
                </a:lnTo>
                <a:cubicBezTo>
                  <a:pt x="482855" y="428371"/>
                  <a:pt x="483608" y="432416"/>
                  <a:pt x="483891" y="436461"/>
                </a:cubicBezTo>
                <a:cubicBezTo>
                  <a:pt x="484644" y="448595"/>
                  <a:pt x="481159" y="460730"/>
                  <a:pt x="473718" y="470700"/>
                </a:cubicBezTo>
                <a:cubicBezTo>
                  <a:pt x="466372" y="480671"/>
                  <a:pt x="455823" y="487538"/>
                  <a:pt x="443956" y="490360"/>
                </a:cubicBezTo>
                <a:cubicBezTo>
                  <a:pt x="440000" y="491301"/>
                  <a:pt x="435950" y="491771"/>
                  <a:pt x="431805" y="491771"/>
                </a:cubicBezTo>
                <a:lnTo>
                  <a:pt x="325375" y="491771"/>
                </a:lnTo>
                <a:lnTo>
                  <a:pt x="337430" y="415296"/>
                </a:lnTo>
                <a:cubicBezTo>
                  <a:pt x="338749" y="406454"/>
                  <a:pt x="337807" y="397424"/>
                  <a:pt x="334605" y="389052"/>
                </a:cubicBezTo>
                <a:lnTo>
                  <a:pt x="323962" y="360927"/>
                </a:lnTo>
                <a:lnTo>
                  <a:pt x="337430" y="347476"/>
                </a:lnTo>
                <a:lnTo>
                  <a:pt x="307196" y="317281"/>
                </a:lnTo>
                <a:lnTo>
                  <a:pt x="276868" y="347476"/>
                </a:lnTo>
                <a:lnTo>
                  <a:pt x="290337" y="360927"/>
                </a:lnTo>
                <a:lnTo>
                  <a:pt x="279694" y="389052"/>
                </a:lnTo>
                <a:cubicBezTo>
                  <a:pt x="276586" y="397424"/>
                  <a:pt x="275644" y="406454"/>
                  <a:pt x="276963" y="415296"/>
                </a:cubicBezTo>
                <a:lnTo>
                  <a:pt x="288736" y="491771"/>
                </a:lnTo>
                <a:lnTo>
                  <a:pt x="182493" y="491771"/>
                </a:lnTo>
                <a:cubicBezTo>
                  <a:pt x="178443" y="491771"/>
                  <a:pt x="174299" y="491301"/>
                  <a:pt x="170437" y="490360"/>
                </a:cubicBezTo>
                <a:cubicBezTo>
                  <a:pt x="158570" y="487538"/>
                  <a:pt x="148021" y="480671"/>
                  <a:pt x="140675" y="470700"/>
                </a:cubicBezTo>
                <a:cubicBezTo>
                  <a:pt x="130785" y="457343"/>
                  <a:pt x="127865" y="440223"/>
                  <a:pt x="132669" y="424515"/>
                </a:cubicBezTo>
                <a:lnTo>
                  <a:pt x="166011" y="316058"/>
                </a:lnTo>
                <a:cubicBezTo>
                  <a:pt x="166858" y="313330"/>
                  <a:pt x="170908" y="300631"/>
                  <a:pt x="184377" y="289814"/>
                </a:cubicBezTo>
                <a:cubicBezTo>
                  <a:pt x="192666" y="283229"/>
                  <a:pt x="203403" y="279655"/>
                  <a:pt x="214517" y="279373"/>
                </a:cubicBezTo>
                <a:lnTo>
                  <a:pt x="214517" y="279279"/>
                </a:lnTo>
                <a:cubicBezTo>
                  <a:pt x="214140" y="273447"/>
                  <a:pt x="211880" y="260654"/>
                  <a:pt x="229022" y="249648"/>
                </a:cubicBezTo>
                <a:cubicBezTo>
                  <a:pt x="233731" y="246638"/>
                  <a:pt x="247765" y="237326"/>
                  <a:pt x="247765" y="237326"/>
                </a:cubicBezTo>
                <a:cubicBezTo>
                  <a:pt x="251061" y="235162"/>
                  <a:pt x="254923" y="234033"/>
                  <a:pt x="258879" y="234033"/>
                </a:cubicBezTo>
                <a:cubicBezTo>
                  <a:pt x="261328" y="234033"/>
                  <a:pt x="263494" y="234786"/>
                  <a:pt x="265754" y="235538"/>
                </a:cubicBezTo>
                <a:cubicBezTo>
                  <a:pt x="266790" y="236009"/>
                  <a:pt x="267826" y="236385"/>
                  <a:pt x="268768" y="236855"/>
                </a:cubicBezTo>
                <a:lnTo>
                  <a:pt x="269239" y="234598"/>
                </a:lnTo>
                <a:cubicBezTo>
                  <a:pt x="264436" y="231211"/>
                  <a:pt x="259726" y="227261"/>
                  <a:pt x="255205" y="222934"/>
                </a:cubicBezTo>
                <a:cubicBezTo>
                  <a:pt x="254923" y="222651"/>
                  <a:pt x="254735" y="222463"/>
                  <a:pt x="254546" y="222275"/>
                </a:cubicBezTo>
                <a:cubicBezTo>
                  <a:pt x="250025" y="217948"/>
                  <a:pt x="245693" y="213057"/>
                  <a:pt x="241548" y="207789"/>
                </a:cubicBezTo>
                <a:cubicBezTo>
                  <a:pt x="241454" y="207601"/>
                  <a:pt x="241266" y="207413"/>
                  <a:pt x="241077" y="207225"/>
                </a:cubicBezTo>
                <a:cubicBezTo>
                  <a:pt x="236933" y="201769"/>
                  <a:pt x="233072" y="196031"/>
                  <a:pt x="229681" y="189823"/>
                </a:cubicBezTo>
                <a:cubicBezTo>
                  <a:pt x="229587" y="189729"/>
                  <a:pt x="229587" y="189635"/>
                  <a:pt x="229493" y="189635"/>
                </a:cubicBezTo>
                <a:cubicBezTo>
                  <a:pt x="226008" y="183332"/>
                  <a:pt x="222899" y="176654"/>
                  <a:pt x="220356" y="169787"/>
                </a:cubicBezTo>
                <a:cubicBezTo>
                  <a:pt x="214140" y="168658"/>
                  <a:pt x="208301" y="165084"/>
                  <a:pt x="203497" y="159910"/>
                </a:cubicBezTo>
                <a:cubicBezTo>
                  <a:pt x="203309" y="159722"/>
                  <a:pt x="203214" y="159628"/>
                  <a:pt x="203120" y="159534"/>
                </a:cubicBezTo>
                <a:cubicBezTo>
                  <a:pt x="200860" y="157088"/>
                  <a:pt x="198976" y="154172"/>
                  <a:pt x="197281" y="151068"/>
                </a:cubicBezTo>
                <a:cubicBezTo>
                  <a:pt x="196998" y="150504"/>
                  <a:pt x="196716" y="149939"/>
                  <a:pt x="196433" y="149281"/>
                </a:cubicBezTo>
                <a:cubicBezTo>
                  <a:pt x="194832" y="146083"/>
                  <a:pt x="193513" y="142602"/>
                  <a:pt x="192666" y="138840"/>
                </a:cubicBezTo>
                <a:cubicBezTo>
                  <a:pt x="188145" y="118428"/>
                  <a:pt x="197092" y="99050"/>
                  <a:pt x="212727" y="95476"/>
                </a:cubicBezTo>
                <a:lnTo>
                  <a:pt x="212727" y="85787"/>
                </a:lnTo>
                <a:cubicBezTo>
                  <a:pt x="212727" y="38378"/>
                  <a:pt x="251155" y="0"/>
                  <a:pt x="29862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A177ED38-35B5-4072-AD07-E755FED7B377}"/>
              </a:ext>
            </a:extLst>
          </p:cNvPr>
          <p:cNvGrpSpPr/>
          <p:nvPr/>
        </p:nvGrpSpPr>
        <p:grpSpPr>
          <a:xfrm>
            <a:off x="8079185" y="1278361"/>
            <a:ext cx="3442889" cy="1111889"/>
            <a:chOff x="8079185" y="1278360"/>
            <a:chExt cx="3442889" cy="1111889"/>
          </a:xfrm>
        </p:grpSpPr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CD048133-346C-4E67-A3F2-378318D68E90}"/>
                </a:ext>
              </a:extLst>
            </p:cNvPr>
            <p:cNvSpPr/>
            <p:nvPr/>
          </p:nvSpPr>
          <p:spPr bwMode="auto">
            <a:xfrm>
              <a:off x="8079185" y="1665958"/>
              <a:ext cx="3442889" cy="72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endParaRPr lang="en-US" altLang="zh-CN" sz="1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97A5F5FB-1FD8-48F7-BA64-9D1F52B02CBA}"/>
                </a:ext>
              </a:extLst>
            </p:cNvPr>
            <p:cNvSpPr txBox="1"/>
            <p:nvPr/>
          </p:nvSpPr>
          <p:spPr bwMode="auto">
            <a:xfrm>
              <a:off x="8079185" y="1278360"/>
              <a:ext cx="344288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t he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F51B6F9C-4852-4DF0-86B8-3D468241CBA2}"/>
              </a:ext>
            </a:extLst>
          </p:cNvPr>
          <p:cNvGrpSpPr/>
          <p:nvPr/>
        </p:nvGrpSpPr>
        <p:grpSpPr>
          <a:xfrm>
            <a:off x="669926" y="1278361"/>
            <a:ext cx="4334604" cy="1111889"/>
            <a:chOff x="669926" y="1278360"/>
            <a:chExt cx="4334604" cy="1111889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05F338DB-B32E-4BDF-8DC5-A7477CFEE3E0}"/>
                </a:ext>
              </a:extLst>
            </p:cNvPr>
            <p:cNvSpPr/>
            <p:nvPr/>
          </p:nvSpPr>
          <p:spPr bwMode="auto">
            <a:xfrm>
              <a:off x="669926" y="1665958"/>
              <a:ext cx="4334604" cy="72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endParaRPr lang="en-US" altLang="zh-CN" sz="100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84BF3546-7283-4489-8860-FE5E923EB72B}"/>
                </a:ext>
              </a:extLst>
            </p:cNvPr>
            <p:cNvSpPr txBox="1"/>
            <p:nvPr/>
          </p:nvSpPr>
          <p:spPr bwMode="auto">
            <a:xfrm>
              <a:off x="669926" y="1278360"/>
              <a:ext cx="4334604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t he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58BC4705-CE98-4369-AD6D-A9027A7C9069}"/>
              </a:ext>
            </a:extLst>
          </p:cNvPr>
          <p:cNvGrpSpPr/>
          <p:nvPr/>
        </p:nvGrpSpPr>
        <p:grpSpPr>
          <a:xfrm>
            <a:off x="669926" y="4886850"/>
            <a:ext cx="3131158" cy="1111889"/>
            <a:chOff x="669926" y="4886849"/>
            <a:chExt cx="3131158" cy="1111889"/>
          </a:xfrm>
        </p:grpSpPr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978AEB16-2C32-45FF-B749-44595C9D23C1}"/>
                </a:ext>
              </a:extLst>
            </p:cNvPr>
            <p:cNvSpPr/>
            <p:nvPr/>
          </p:nvSpPr>
          <p:spPr bwMode="auto">
            <a:xfrm>
              <a:off x="669926" y="5274447"/>
              <a:ext cx="3131158" cy="72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</a:t>
              </a:r>
              <a:r>
                <a:rPr lang="en-US" altLang="zh-CN" sz="1100">
                  <a:cs typeface="+mn-ea"/>
                  <a:sym typeface="+mn-lt"/>
                </a:rPr>
                <a:t>text.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endParaRPr lang="en-US" altLang="zh-CN" sz="100" dirty="0">
                <a:cs typeface="+mn-ea"/>
                <a:sym typeface="+mn-lt"/>
              </a:endParaRPr>
            </a:p>
            <a:p>
              <a:pPr marL="171450" indent="-17145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E63EFA3A-A357-458E-B374-2674F01D5E5D}"/>
                </a:ext>
              </a:extLst>
            </p:cNvPr>
            <p:cNvSpPr txBox="1"/>
            <p:nvPr/>
          </p:nvSpPr>
          <p:spPr bwMode="auto">
            <a:xfrm>
              <a:off x="669926" y="4886849"/>
              <a:ext cx="3131158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t he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6F975158-1068-4C41-AE58-8395D9502584}"/>
              </a:ext>
            </a:extLst>
          </p:cNvPr>
          <p:cNvGrpSpPr/>
          <p:nvPr/>
        </p:nvGrpSpPr>
        <p:grpSpPr>
          <a:xfrm>
            <a:off x="7042881" y="4886850"/>
            <a:ext cx="4477607" cy="1111889"/>
            <a:chOff x="7042881" y="4886849"/>
            <a:chExt cx="4477607" cy="1111889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09888F42-A05E-4997-834F-7532FBECA365}"/>
                </a:ext>
              </a:extLst>
            </p:cNvPr>
            <p:cNvSpPr/>
            <p:nvPr/>
          </p:nvSpPr>
          <p:spPr bwMode="auto">
            <a:xfrm>
              <a:off x="7042881" y="5274447"/>
              <a:ext cx="4477607" cy="72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</a:t>
              </a:r>
              <a:r>
                <a:rPr lang="en-US" altLang="zh-CN" sz="1100">
                  <a:cs typeface="+mn-ea"/>
                  <a:sym typeface="+mn-lt"/>
                </a:rPr>
                <a:t>to re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ain </a:t>
              </a:r>
              <a:r>
                <a:rPr lang="en-US" altLang="zh-CN" sz="1100" dirty="0">
                  <a:cs typeface="+mn-ea"/>
                  <a:sym typeface="+mn-lt"/>
                </a:rPr>
                <a:t>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FAA03CA2-B99B-4676-9F5B-B9192B1B92A1}"/>
                </a:ext>
              </a:extLst>
            </p:cNvPr>
            <p:cNvSpPr txBox="1"/>
            <p:nvPr/>
          </p:nvSpPr>
          <p:spPr bwMode="auto">
            <a:xfrm>
              <a:off x="7042881" y="4886849"/>
              <a:ext cx="4477607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>
                  <a:cs typeface="+mn-ea"/>
                  <a:sym typeface="+mn-lt"/>
                </a:rPr>
                <a:t>Text h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sz="2000" b="1">
                  <a:cs typeface="+mn-ea"/>
                  <a:sym typeface="+mn-lt"/>
                </a:rPr>
                <a:t>ere</a:t>
              </a:r>
              <a:endParaRPr lang="en-US" altLang="zh-CN" sz="2000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7823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经过疫情流行地区预防病毒措施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/>
          <p:cNvCxnSpPr/>
          <p:nvPr/>
        </p:nvCxnSpPr>
        <p:spPr>
          <a:xfrm flipV="1">
            <a:off x="660400" y="2534479"/>
            <a:ext cx="10858500" cy="204825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椭圆 6"/>
          <p:cNvSpPr/>
          <p:nvPr/>
        </p:nvSpPr>
        <p:spPr>
          <a:xfrm>
            <a:off x="1991726" y="3591329"/>
            <a:ext cx="1122400" cy="1122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3600">
              <a:solidFill>
                <a:srgbClr val="757070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/>
          <p:cNvSpPr/>
          <p:nvPr/>
        </p:nvSpPr>
        <p:spPr>
          <a:xfrm>
            <a:off x="2308158" y="3907846"/>
            <a:ext cx="489537" cy="489366"/>
          </a:xfrm>
          <a:custGeom>
            <a:avLst/>
            <a:gdLst>
              <a:gd name="connsiteX0" fmla="*/ 0 w 606933"/>
              <a:gd name="connsiteY0" fmla="*/ 362213 h 606722"/>
              <a:gd name="connsiteX1" fmla="*/ 88983 w 606933"/>
              <a:gd name="connsiteY1" fmla="*/ 362213 h 606722"/>
              <a:gd name="connsiteX2" fmla="*/ 88983 w 606933"/>
              <a:gd name="connsiteY2" fmla="*/ 364880 h 606722"/>
              <a:gd name="connsiteX3" fmla="*/ 88983 w 606933"/>
              <a:gd name="connsiteY3" fmla="*/ 398210 h 606722"/>
              <a:gd name="connsiteX4" fmla="*/ 88983 w 606933"/>
              <a:gd name="connsiteY4" fmla="*/ 560238 h 606722"/>
              <a:gd name="connsiteX5" fmla="*/ 88983 w 606933"/>
              <a:gd name="connsiteY5" fmla="*/ 570637 h 606722"/>
              <a:gd name="connsiteX6" fmla="*/ 88983 w 606933"/>
              <a:gd name="connsiteY6" fmla="*/ 606722 h 606722"/>
              <a:gd name="connsiteX7" fmla="*/ 0 w 606933"/>
              <a:gd name="connsiteY7" fmla="*/ 606722 h 606722"/>
              <a:gd name="connsiteX8" fmla="*/ 276890 w 606933"/>
              <a:gd name="connsiteY8" fmla="*/ 335751 h 606722"/>
              <a:gd name="connsiteX9" fmla="*/ 443069 w 606933"/>
              <a:gd name="connsiteY9" fmla="*/ 377345 h 606722"/>
              <a:gd name="connsiteX10" fmla="*/ 443069 w 606933"/>
              <a:gd name="connsiteY10" fmla="*/ 423559 h 606722"/>
              <a:gd name="connsiteX11" fmla="*/ 442802 w 606933"/>
              <a:gd name="connsiteY11" fmla="*/ 423648 h 606722"/>
              <a:gd name="connsiteX12" fmla="*/ 323976 w 606933"/>
              <a:gd name="connsiteY12" fmla="*/ 394764 h 606722"/>
              <a:gd name="connsiteX13" fmla="*/ 315342 w 606933"/>
              <a:gd name="connsiteY13" fmla="*/ 429781 h 606722"/>
              <a:gd name="connsiteX14" fmla="*/ 443336 w 606933"/>
              <a:gd name="connsiteY14" fmla="*/ 460887 h 606722"/>
              <a:gd name="connsiteX15" fmla="*/ 593493 w 606933"/>
              <a:gd name="connsiteY15" fmla="*/ 419649 h 606722"/>
              <a:gd name="connsiteX16" fmla="*/ 606933 w 606933"/>
              <a:gd name="connsiteY16" fmla="*/ 470663 h 606722"/>
              <a:gd name="connsiteX17" fmla="*/ 382810 w 606933"/>
              <a:gd name="connsiteY17" fmla="*/ 594021 h 606722"/>
              <a:gd name="connsiteX18" fmla="*/ 212804 w 606933"/>
              <a:gd name="connsiteY18" fmla="*/ 546384 h 606722"/>
              <a:gd name="connsiteX19" fmla="*/ 125042 w 606933"/>
              <a:gd name="connsiteY19" fmla="*/ 556249 h 606722"/>
              <a:gd name="connsiteX20" fmla="*/ 125042 w 606933"/>
              <a:gd name="connsiteY20" fmla="*/ 519900 h 606722"/>
              <a:gd name="connsiteX21" fmla="*/ 125042 w 606933"/>
              <a:gd name="connsiteY21" fmla="*/ 395742 h 606722"/>
              <a:gd name="connsiteX22" fmla="*/ 125042 w 606933"/>
              <a:gd name="connsiteY22" fmla="*/ 362236 h 606722"/>
              <a:gd name="connsiteX23" fmla="*/ 125042 w 606933"/>
              <a:gd name="connsiteY23" fmla="*/ 359303 h 606722"/>
              <a:gd name="connsiteX24" fmla="*/ 382041 w 606933"/>
              <a:gd name="connsiteY24" fmla="*/ 177119 h 606722"/>
              <a:gd name="connsiteX25" fmla="*/ 399471 w 606933"/>
              <a:gd name="connsiteY25" fmla="*/ 197750 h 606722"/>
              <a:gd name="connsiteX26" fmla="*/ 382041 w 606933"/>
              <a:gd name="connsiteY26" fmla="*/ 218470 h 606722"/>
              <a:gd name="connsiteX27" fmla="*/ 345841 w 606933"/>
              <a:gd name="connsiteY27" fmla="*/ 95828 h 606722"/>
              <a:gd name="connsiteX28" fmla="*/ 345841 w 606933"/>
              <a:gd name="connsiteY28" fmla="*/ 137109 h 606722"/>
              <a:gd name="connsiteX29" fmla="*/ 328341 w 606933"/>
              <a:gd name="connsiteY29" fmla="*/ 116513 h 606722"/>
              <a:gd name="connsiteX30" fmla="*/ 345841 w 606933"/>
              <a:gd name="connsiteY30" fmla="*/ 95828 h 606722"/>
              <a:gd name="connsiteX31" fmla="*/ 345877 w 606933"/>
              <a:gd name="connsiteY31" fmla="*/ 41411 h 606722"/>
              <a:gd name="connsiteX32" fmla="*/ 345877 w 606933"/>
              <a:gd name="connsiteY32" fmla="*/ 59184 h 606722"/>
              <a:gd name="connsiteX33" fmla="*/ 315978 w 606933"/>
              <a:gd name="connsiteY33" fmla="*/ 70115 h 606722"/>
              <a:gd name="connsiteX34" fmla="*/ 292308 w 606933"/>
              <a:gd name="connsiteY34" fmla="*/ 116502 h 606722"/>
              <a:gd name="connsiteX35" fmla="*/ 315978 w 606933"/>
              <a:gd name="connsiteY35" fmla="*/ 162890 h 606722"/>
              <a:gd name="connsiteX36" fmla="*/ 345877 w 606933"/>
              <a:gd name="connsiteY36" fmla="*/ 173820 h 606722"/>
              <a:gd name="connsiteX37" fmla="*/ 345877 w 606933"/>
              <a:gd name="connsiteY37" fmla="*/ 218431 h 606722"/>
              <a:gd name="connsiteX38" fmla="*/ 328347 w 606933"/>
              <a:gd name="connsiteY38" fmla="*/ 197725 h 606722"/>
              <a:gd name="connsiteX39" fmla="*/ 292308 w 606933"/>
              <a:gd name="connsiteY39" fmla="*/ 197725 h 606722"/>
              <a:gd name="connsiteX40" fmla="*/ 315978 w 606933"/>
              <a:gd name="connsiteY40" fmla="*/ 244113 h 606722"/>
              <a:gd name="connsiteX41" fmla="*/ 345877 w 606933"/>
              <a:gd name="connsiteY41" fmla="*/ 255043 h 606722"/>
              <a:gd name="connsiteX42" fmla="*/ 345877 w 606933"/>
              <a:gd name="connsiteY42" fmla="*/ 272816 h 606722"/>
              <a:gd name="connsiteX43" fmla="*/ 382004 w 606933"/>
              <a:gd name="connsiteY43" fmla="*/ 272816 h 606722"/>
              <a:gd name="connsiteX44" fmla="*/ 382004 w 606933"/>
              <a:gd name="connsiteY44" fmla="*/ 255043 h 606722"/>
              <a:gd name="connsiteX45" fmla="*/ 411814 w 606933"/>
              <a:gd name="connsiteY45" fmla="*/ 244113 h 606722"/>
              <a:gd name="connsiteX46" fmla="*/ 435573 w 606933"/>
              <a:gd name="connsiteY46" fmla="*/ 197725 h 606722"/>
              <a:gd name="connsiteX47" fmla="*/ 411814 w 606933"/>
              <a:gd name="connsiteY47" fmla="*/ 151338 h 606722"/>
              <a:gd name="connsiteX48" fmla="*/ 382004 w 606933"/>
              <a:gd name="connsiteY48" fmla="*/ 140407 h 606722"/>
              <a:gd name="connsiteX49" fmla="*/ 382004 w 606933"/>
              <a:gd name="connsiteY49" fmla="*/ 95797 h 606722"/>
              <a:gd name="connsiteX50" fmla="*/ 399446 w 606933"/>
              <a:gd name="connsiteY50" fmla="*/ 116502 h 606722"/>
              <a:gd name="connsiteX51" fmla="*/ 435573 w 606933"/>
              <a:gd name="connsiteY51" fmla="*/ 116502 h 606722"/>
              <a:gd name="connsiteX52" fmla="*/ 411814 w 606933"/>
              <a:gd name="connsiteY52" fmla="*/ 70115 h 606722"/>
              <a:gd name="connsiteX53" fmla="*/ 382004 w 606933"/>
              <a:gd name="connsiteY53" fmla="*/ 59184 h 606722"/>
              <a:gd name="connsiteX54" fmla="*/ 382004 w 606933"/>
              <a:gd name="connsiteY54" fmla="*/ 41411 h 606722"/>
              <a:gd name="connsiteX55" fmla="*/ 363941 w 606933"/>
              <a:gd name="connsiteY55" fmla="*/ 0 h 606722"/>
              <a:gd name="connsiteX56" fmla="*/ 521266 w 606933"/>
              <a:gd name="connsiteY56" fmla="*/ 157114 h 606722"/>
              <a:gd name="connsiteX57" fmla="*/ 363941 w 606933"/>
              <a:gd name="connsiteY57" fmla="*/ 314228 h 606722"/>
              <a:gd name="connsiteX58" fmla="*/ 206615 w 606933"/>
              <a:gd name="connsiteY58" fmla="*/ 157114 h 606722"/>
              <a:gd name="connsiteX59" fmla="*/ 363941 w 606933"/>
              <a:gd name="connsiteY59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606933" h="606722">
                <a:moveTo>
                  <a:pt x="0" y="362213"/>
                </a:moveTo>
                <a:lnTo>
                  <a:pt x="88983" y="362213"/>
                </a:lnTo>
                <a:lnTo>
                  <a:pt x="88983" y="364880"/>
                </a:lnTo>
                <a:lnTo>
                  <a:pt x="88983" y="398210"/>
                </a:lnTo>
                <a:lnTo>
                  <a:pt x="88983" y="560238"/>
                </a:lnTo>
                <a:lnTo>
                  <a:pt x="88983" y="570637"/>
                </a:lnTo>
                <a:lnTo>
                  <a:pt x="88983" y="606722"/>
                </a:lnTo>
                <a:lnTo>
                  <a:pt x="0" y="606722"/>
                </a:lnTo>
                <a:close/>
                <a:moveTo>
                  <a:pt x="276890" y="335751"/>
                </a:moveTo>
                <a:lnTo>
                  <a:pt x="443069" y="377345"/>
                </a:lnTo>
                <a:lnTo>
                  <a:pt x="443069" y="423559"/>
                </a:lnTo>
                <a:lnTo>
                  <a:pt x="442802" y="423648"/>
                </a:lnTo>
                <a:lnTo>
                  <a:pt x="323976" y="394764"/>
                </a:lnTo>
                <a:lnTo>
                  <a:pt x="315342" y="429781"/>
                </a:lnTo>
                <a:lnTo>
                  <a:pt x="443336" y="460887"/>
                </a:lnTo>
                <a:lnTo>
                  <a:pt x="593493" y="419649"/>
                </a:lnTo>
                <a:lnTo>
                  <a:pt x="606933" y="470663"/>
                </a:lnTo>
                <a:lnTo>
                  <a:pt x="382810" y="594021"/>
                </a:lnTo>
                <a:lnTo>
                  <a:pt x="212804" y="546384"/>
                </a:lnTo>
                <a:lnTo>
                  <a:pt x="125042" y="556249"/>
                </a:lnTo>
                <a:lnTo>
                  <a:pt x="125042" y="519900"/>
                </a:lnTo>
                <a:lnTo>
                  <a:pt x="125042" y="395742"/>
                </a:lnTo>
                <a:lnTo>
                  <a:pt x="125042" y="362236"/>
                </a:lnTo>
                <a:lnTo>
                  <a:pt x="125042" y="359303"/>
                </a:lnTo>
                <a:close/>
                <a:moveTo>
                  <a:pt x="382041" y="177119"/>
                </a:moveTo>
                <a:cubicBezTo>
                  <a:pt x="399471" y="181654"/>
                  <a:pt x="399471" y="192859"/>
                  <a:pt x="399471" y="197750"/>
                </a:cubicBezTo>
                <a:cubicBezTo>
                  <a:pt x="399471" y="202641"/>
                  <a:pt x="399471" y="213934"/>
                  <a:pt x="382041" y="218470"/>
                </a:cubicBezTo>
                <a:close/>
                <a:moveTo>
                  <a:pt x="345841" y="95828"/>
                </a:moveTo>
                <a:lnTo>
                  <a:pt x="345841" y="137109"/>
                </a:lnTo>
                <a:cubicBezTo>
                  <a:pt x="328341" y="132670"/>
                  <a:pt x="328341" y="121395"/>
                  <a:pt x="328341" y="116513"/>
                </a:cubicBezTo>
                <a:cubicBezTo>
                  <a:pt x="328341" y="111630"/>
                  <a:pt x="328341" y="100355"/>
                  <a:pt x="345841" y="95828"/>
                </a:cubicBezTo>
                <a:close/>
                <a:moveTo>
                  <a:pt x="345877" y="41411"/>
                </a:moveTo>
                <a:lnTo>
                  <a:pt x="345877" y="59184"/>
                </a:lnTo>
                <a:cubicBezTo>
                  <a:pt x="334220" y="60961"/>
                  <a:pt x="324253" y="64605"/>
                  <a:pt x="315978" y="70115"/>
                </a:cubicBezTo>
                <a:cubicBezTo>
                  <a:pt x="300494" y="80423"/>
                  <a:pt x="292308" y="96508"/>
                  <a:pt x="292308" y="116502"/>
                </a:cubicBezTo>
                <a:cubicBezTo>
                  <a:pt x="292308" y="136497"/>
                  <a:pt x="300494" y="152582"/>
                  <a:pt x="315978" y="162890"/>
                </a:cubicBezTo>
                <a:cubicBezTo>
                  <a:pt x="324253" y="168400"/>
                  <a:pt x="334220" y="172043"/>
                  <a:pt x="345877" y="173820"/>
                </a:cubicBezTo>
                <a:lnTo>
                  <a:pt x="345877" y="218431"/>
                </a:lnTo>
                <a:cubicBezTo>
                  <a:pt x="328347" y="213899"/>
                  <a:pt x="328347" y="202613"/>
                  <a:pt x="328347" y="197725"/>
                </a:cubicBezTo>
                <a:lnTo>
                  <a:pt x="292308" y="197725"/>
                </a:lnTo>
                <a:cubicBezTo>
                  <a:pt x="292308" y="217720"/>
                  <a:pt x="300494" y="233805"/>
                  <a:pt x="315978" y="244113"/>
                </a:cubicBezTo>
                <a:cubicBezTo>
                  <a:pt x="324253" y="249623"/>
                  <a:pt x="334220" y="253266"/>
                  <a:pt x="345877" y="255043"/>
                </a:cubicBezTo>
                <a:lnTo>
                  <a:pt x="345877" y="272816"/>
                </a:lnTo>
                <a:lnTo>
                  <a:pt x="382004" y="272816"/>
                </a:lnTo>
                <a:lnTo>
                  <a:pt x="382004" y="255043"/>
                </a:lnTo>
                <a:cubicBezTo>
                  <a:pt x="393573" y="253266"/>
                  <a:pt x="403628" y="249623"/>
                  <a:pt x="411814" y="244113"/>
                </a:cubicBezTo>
                <a:cubicBezTo>
                  <a:pt x="427387" y="233805"/>
                  <a:pt x="435573" y="217720"/>
                  <a:pt x="435573" y="197725"/>
                </a:cubicBezTo>
                <a:cubicBezTo>
                  <a:pt x="435573" y="177731"/>
                  <a:pt x="427387" y="161735"/>
                  <a:pt x="411814" y="151338"/>
                </a:cubicBezTo>
                <a:cubicBezTo>
                  <a:pt x="403628" y="145917"/>
                  <a:pt x="393573" y="142273"/>
                  <a:pt x="382004" y="140407"/>
                </a:cubicBezTo>
                <a:lnTo>
                  <a:pt x="382004" y="95797"/>
                </a:lnTo>
                <a:cubicBezTo>
                  <a:pt x="399446" y="100329"/>
                  <a:pt x="399446" y="111615"/>
                  <a:pt x="399446" y="116502"/>
                </a:cubicBezTo>
                <a:lnTo>
                  <a:pt x="435573" y="116502"/>
                </a:lnTo>
                <a:cubicBezTo>
                  <a:pt x="435573" y="96508"/>
                  <a:pt x="427387" y="80423"/>
                  <a:pt x="411814" y="70115"/>
                </a:cubicBezTo>
                <a:cubicBezTo>
                  <a:pt x="403628" y="64605"/>
                  <a:pt x="393573" y="60961"/>
                  <a:pt x="382004" y="59184"/>
                </a:cubicBezTo>
                <a:lnTo>
                  <a:pt x="382004" y="41411"/>
                </a:lnTo>
                <a:close/>
                <a:moveTo>
                  <a:pt x="363941" y="0"/>
                </a:moveTo>
                <a:cubicBezTo>
                  <a:pt x="450701" y="0"/>
                  <a:pt x="521266" y="70470"/>
                  <a:pt x="521266" y="157114"/>
                </a:cubicBezTo>
                <a:cubicBezTo>
                  <a:pt x="521266" y="243758"/>
                  <a:pt x="450701" y="314228"/>
                  <a:pt x="363941" y="314228"/>
                </a:cubicBezTo>
                <a:cubicBezTo>
                  <a:pt x="277180" y="314228"/>
                  <a:pt x="206615" y="243758"/>
                  <a:pt x="206615" y="157114"/>
                </a:cubicBezTo>
                <a:cubicBezTo>
                  <a:pt x="206615" y="70470"/>
                  <a:pt x="277180" y="0"/>
                  <a:pt x="36394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 sz="2999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9" name="椭圆 8"/>
          <p:cNvSpPr/>
          <p:nvPr/>
        </p:nvSpPr>
        <p:spPr>
          <a:xfrm>
            <a:off x="4358939" y="3163527"/>
            <a:ext cx="1122400" cy="1122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3600">
              <a:solidFill>
                <a:srgbClr val="757070"/>
              </a:solidFill>
              <a:cs typeface="+mn-ea"/>
              <a:sym typeface="+mn-lt"/>
            </a:endParaRPr>
          </a:p>
        </p:txBody>
      </p:sp>
      <p:sp>
        <p:nvSpPr>
          <p:cNvPr id="10" name="任意多边形: 形状 9"/>
          <p:cNvSpPr/>
          <p:nvPr/>
        </p:nvSpPr>
        <p:spPr>
          <a:xfrm>
            <a:off x="4675371" y="3480329"/>
            <a:ext cx="489537" cy="488797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 sz="2999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1" name="椭圆 10"/>
          <p:cNvSpPr/>
          <p:nvPr/>
        </p:nvSpPr>
        <p:spPr>
          <a:xfrm>
            <a:off x="9093365" y="2331124"/>
            <a:ext cx="1122400" cy="112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3600">
              <a:solidFill>
                <a:srgbClr val="757070"/>
              </a:solidFill>
              <a:cs typeface="+mn-ea"/>
              <a:sym typeface="+mn-lt"/>
            </a:endParaRPr>
          </a:p>
        </p:txBody>
      </p:sp>
      <p:sp>
        <p:nvSpPr>
          <p:cNvPr id="12" name="任意多边形: 形状 11"/>
          <p:cNvSpPr/>
          <p:nvPr/>
        </p:nvSpPr>
        <p:spPr>
          <a:xfrm>
            <a:off x="9409797" y="2667659"/>
            <a:ext cx="489537" cy="449330"/>
          </a:xfrm>
          <a:custGeom>
            <a:avLst/>
            <a:gdLst>
              <a:gd name="connsiteX0" fmla="*/ 93434 w 608426"/>
              <a:gd name="connsiteY0" fmla="*/ 245427 h 558455"/>
              <a:gd name="connsiteX1" fmla="*/ 105418 w 608426"/>
              <a:gd name="connsiteY1" fmla="*/ 251565 h 558455"/>
              <a:gd name="connsiteX2" fmla="*/ 184086 w 608426"/>
              <a:gd name="connsiteY2" fmla="*/ 358669 h 558455"/>
              <a:gd name="connsiteX3" fmla="*/ 185315 w 608426"/>
              <a:gd name="connsiteY3" fmla="*/ 374167 h 558455"/>
              <a:gd name="connsiteX4" fmla="*/ 172101 w 608426"/>
              <a:gd name="connsiteY4" fmla="*/ 382300 h 558455"/>
              <a:gd name="connsiteX5" fmla="*/ 139835 w 608426"/>
              <a:gd name="connsiteY5" fmla="*/ 382300 h 558455"/>
              <a:gd name="connsiteX6" fmla="*/ 139835 w 608426"/>
              <a:gd name="connsiteY6" fmla="*/ 543571 h 558455"/>
              <a:gd name="connsiteX7" fmla="*/ 124931 w 608426"/>
              <a:gd name="connsiteY7" fmla="*/ 558455 h 558455"/>
              <a:gd name="connsiteX8" fmla="*/ 61936 w 608426"/>
              <a:gd name="connsiteY8" fmla="*/ 558455 h 558455"/>
              <a:gd name="connsiteX9" fmla="*/ 47186 w 608426"/>
              <a:gd name="connsiteY9" fmla="*/ 543571 h 558455"/>
              <a:gd name="connsiteX10" fmla="*/ 47186 w 608426"/>
              <a:gd name="connsiteY10" fmla="*/ 382300 h 558455"/>
              <a:gd name="connsiteX11" fmla="*/ 14766 w 608426"/>
              <a:gd name="connsiteY11" fmla="*/ 382300 h 558455"/>
              <a:gd name="connsiteX12" fmla="*/ 1552 w 608426"/>
              <a:gd name="connsiteY12" fmla="*/ 374167 h 558455"/>
              <a:gd name="connsiteX13" fmla="*/ 2935 w 608426"/>
              <a:gd name="connsiteY13" fmla="*/ 358669 h 558455"/>
              <a:gd name="connsiteX14" fmla="*/ 81603 w 608426"/>
              <a:gd name="connsiteY14" fmla="*/ 251565 h 558455"/>
              <a:gd name="connsiteX15" fmla="*/ 93434 w 608426"/>
              <a:gd name="connsiteY15" fmla="*/ 245427 h 558455"/>
              <a:gd name="connsiteX16" fmla="*/ 259204 w 608426"/>
              <a:gd name="connsiteY16" fmla="*/ 157855 h 558455"/>
              <a:gd name="connsiteX17" fmla="*/ 271035 w 608426"/>
              <a:gd name="connsiteY17" fmla="*/ 163839 h 558455"/>
              <a:gd name="connsiteX18" fmla="*/ 349703 w 608426"/>
              <a:gd name="connsiteY18" fmla="*/ 271085 h 558455"/>
              <a:gd name="connsiteX19" fmla="*/ 351086 w 608426"/>
              <a:gd name="connsiteY19" fmla="*/ 286581 h 558455"/>
              <a:gd name="connsiteX20" fmla="*/ 337872 w 608426"/>
              <a:gd name="connsiteY20" fmla="*/ 294559 h 558455"/>
              <a:gd name="connsiteX21" fmla="*/ 305452 w 608426"/>
              <a:gd name="connsiteY21" fmla="*/ 294559 h 558455"/>
              <a:gd name="connsiteX22" fmla="*/ 305452 w 608426"/>
              <a:gd name="connsiteY22" fmla="*/ 543572 h 558455"/>
              <a:gd name="connsiteX23" fmla="*/ 290702 w 608426"/>
              <a:gd name="connsiteY23" fmla="*/ 558455 h 558455"/>
              <a:gd name="connsiteX24" fmla="*/ 227707 w 608426"/>
              <a:gd name="connsiteY24" fmla="*/ 558455 h 558455"/>
              <a:gd name="connsiteX25" fmla="*/ 212803 w 608426"/>
              <a:gd name="connsiteY25" fmla="*/ 543572 h 558455"/>
              <a:gd name="connsiteX26" fmla="*/ 212803 w 608426"/>
              <a:gd name="connsiteY26" fmla="*/ 294559 h 558455"/>
              <a:gd name="connsiteX27" fmla="*/ 180537 w 608426"/>
              <a:gd name="connsiteY27" fmla="*/ 294559 h 558455"/>
              <a:gd name="connsiteX28" fmla="*/ 167323 w 608426"/>
              <a:gd name="connsiteY28" fmla="*/ 286581 h 558455"/>
              <a:gd name="connsiteX29" fmla="*/ 168552 w 608426"/>
              <a:gd name="connsiteY29" fmla="*/ 271085 h 558455"/>
              <a:gd name="connsiteX30" fmla="*/ 247220 w 608426"/>
              <a:gd name="connsiteY30" fmla="*/ 163839 h 558455"/>
              <a:gd name="connsiteX31" fmla="*/ 259204 w 608426"/>
              <a:gd name="connsiteY31" fmla="*/ 157855 h 558455"/>
              <a:gd name="connsiteX32" fmla="*/ 446012 w 608426"/>
              <a:gd name="connsiteY32" fmla="*/ 156011 h 558455"/>
              <a:gd name="connsiteX33" fmla="*/ 451390 w 608426"/>
              <a:gd name="connsiteY33" fmla="*/ 159693 h 558455"/>
              <a:gd name="connsiteX34" fmla="*/ 490572 w 608426"/>
              <a:gd name="connsiteY34" fmla="*/ 267094 h 558455"/>
              <a:gd name="connsiteX35" fmla="*/ 503787 w 608426"/>
              <a:gd name="connsiteY35" fmla="*/ 267094 h 558455"/>
              <a:gd name="connsiteX36" fmla="*/ 542969 w 608426"/>
              <a:gd name="connsiteY36" fmla="*/ 159693 h 558455"/>
              <a:gd name="connsiteX37" fmla="*/ 550191 w 608426"/>
              <a:gd name="connsiteY37" fmla="*/ 156165 h 558455"/>
              <a:gd name="connsiteX38" fmla="*/ 568783 w 608426"/>
              <a:gd name="connsiteY38" fmla="*/ 161841 h 558455"/>
              <a:gd name="connsiteX39" fmla="*/ 568937 w 608426"/>
              <a:gd name="connsiteY39" fmla="*/ 161995 h 558455"/>
              <a:gd name="connsiteX40" fmla="*/ 608426 w 608426"/>
              <a:gd name="connsiteY40" fmla="*/ 216462 h 558455"/>
              <a:gd name="connsiteX41" fmla="*/ 608426 w 608426"/>
              <a:gd name="connsiteY41" fmla="*/ 330306 h 558455"/>
              <a:gd name="connsiteX42" fmla="*/ 607504 w 608426"/>
              <a:gd name="connsiteY42" fmla="*/ 333375 h 558455"/>
              <a:gd name="connsiteX43" fmla="*/ 566632 w 608426"/>
              <a:gd name="connsiteY43" fmla="*/ 395514 h 558455"/>
              <a:gd name="connsiteX44" fmla="*/ 566632 w 608426"/>
              <a:gd name="connsiteY44" fmla="*/ 552625 h 558455"/>
              <a:gd name="connsiteX45" fmla="*/ 560793 w 608426"/>
              <a:gd name="connsiteY45" fmla="*/ 558455 h 558455"/>
              <a:gd name="connsiteX46" fmla="*/ 433566 w 608426"/>
              <a:gd name="connsiteY46" fmla="*/ 558455 h 558455"/>
              <a:gd name="connsiteX47" fmla="*/ 427727 w 608426"/>
              <a:gd name="connsiteY47" fmla="*/ 552625 h 558455"/>
              <a:gd name="connsiteX48" fmla="*/ 427727 w 608426"/>
              <a:gd name="connsiteY48" fmla="*/ 395514 h 558455"/>
              <a:gd name="connsiteX49" fmla="*/ 386855 w 608426"/>
              <a:gd name="connsiteY49" fmla="*/ 333375 h 558455"/>
              <a:gd name="connsiteX50" fmla="*/ 385933 w 608426"/>
              <a:gd name="connsiteY50" fmla="*/ 330306 h 558455"/>
              <a:gd name="connsiteX51" fmla="*/ 385933 w 608426"/>
              <a:gd name="connsiteY51" fmla="*/ 216769 h 558455"/>
              <a:gd name="connsiteX52" fmla="*/ 425730 w 608426"/>
              <a:gd name="connsiteY52" fmla="*/ 161841 h 558455"/>
              <a:gd name="connsiteX53" fmla="*/ 446012 w 608426"/>
              <a:gd name="connsiteY53" fmla="*/ 156011 h 558455"/>
              <a:gd name="connsiteX54" fmla="*/ 487387 w 608426"/>
              <a:gd name="connsiteY54" fmla="*/ 148470 h 558455"/>
              <a:gd name="connsiteX55" fmla="*/ 507184 w 608426"/>
              <a:gd name="connsiteY55" fmla="*/ 148470 h 558455"/>
              <a:gd name="connsiteX56" fmla="*/ 514244 w 608426"/>
              <a:gd name="connsiteY56" fmla="*/ 151386 h 558455"/>
              <a:gd name="connsiteX57" fmla="*/ 515472 w 608426"/>
              <a:gd name="connsiteY57" fmla="*/ 162281 h 558455"/>
              <a:gd name="connsiteX58" fmla="*/ 504882 w 608426"/>
              <a:gd name="connsiteY58" fmla="*/ 178239 h 558455"/>
              <a:gd name="connsiteX59" fmla="*/ 509793 w 608426"/>
              <a:gd name="connsiteY59" fmla="*/ 220131 h 558455"/>
              <a:gd name="connsiteX60" fmla="*/ 499971 w 608426"/>
              <a:gd name="connsiteY60" fmla="*/ 246064 h 558455"/>
              <a:gd name="connsiteX61" fmla="*/ 494446 w 608426"/>
              <a:gd name="connsiteY61" fmla="*/ 246064 h 558455"/>
              <a:gd name="connsiteX62" fmla="*/ 484624 w 608426"/>
              <a:gd name="connsiteY62" fmla="*/ 220131 h 558455"/>
              <a:gd name="connsiteX63" fmla="*/ 489689 w 608426"/>
              <a:gd name="connsiteY63" fmla="*/ 178239 h 558455"/>
              <a:gd name="connsiteX64" fmla="*/ 478946 w 608426"/>
              <a:gd name="connsiteY64" fmla="*/ 162281 h 558455"/>
              <a:gd name="connsiteX65" fmla="*/ 480173 w 608426"/>
              <a:gd name="connsiteY65" fmla="*/ 151386 h 558455"/>
              <a:gd name="connsiteX66" fmla="*/ 487387 w 608426"/>
              <a:gd name="connsiteY66" fmla="*/ 148470 h 558455"/>
              <a:gd name="connsiteX67" fmla="*/ 497215 w 608426"/>
              <a:gd name="connsiteY67" fmla="*/ 0 h 558455"/>
              <a:gd name="connsiteX68" fmla="*/ 562488 w 608426"/>
              <a:gd name="connsiteY68" fmla="*/ 65203 h 558455"/>
              <a:gd name="connsiteX69" fmla="*/ 497215 w 608426"/>
              <a:gd name="connsiteY69" fmla="*/ 130406 h 558455"/>
              <a:gd name="connsiteX70" fmla="*/ 431942 w 608426"/>
              <a:gd name="connsiteY70" fmla="*/ 65203 h 558455"/>
              <a:gd name="connsiteX71" fmla="*/ 497215 w 608426"/>
              <a:gd name="connsiteY71" fmla="*/ 0 h 558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08426" h="558455">
                <a:moveTo>
                  <a:pt x="93434" y="245427"/>
                </a:moveTo>
                <a:cubicBezTo>
                  <a:pt x="98197" y="245427"/>
                  <a:pt x="102653" y="247729"/>
                  <a:pt x="105418" y="251565"/>
                </a:cubicBezTo>
                <a:lnTo>
                  <a:pt x="184086" y="358669"/>
                </a:lnTo>
                <a:cubicBezTo>
                  <a:pt x="187312" y="363273"/>
                  <a:pt x="187927" y="369257"/>
                  <a:pt x="185315" y="374167"/>
                </a:cubicBezTo>
                <a:cubicBezTo>
                  <a:pt x="182857" y="379078"/>
                  <a:pt x="177786" y="382300"/>
                  <a:pt x="172101" y="382300"/>
                </a:cubicBezTo>
                <a:lnTo>
                  <a:pt x="139835" y="382300"/>
                </a:lnTo>
                <a:lnTo>
                  <a:pt x="139835" y="543571"/>
                </a:lnTo>
                <a:cubicBezTo>
                  <a:pt x="139835" y="551703"/>
                  <a:pt x="133228" y="558455"/>
                  <a:pt x="124931" y="558455"/>
                </a:cubicBezTo>
                <a:lnTo>
                  <a:pt x="61936" y="558455"/>
                </a:lnTo>
                <a:cubicBezTo>
                  <a:pt x="53793" y="558455"/>
                  <a:pt x="47186" y="551703"/>
                  <a:pt x="47186" y="543571"/>
                </a:cubicBezTo>
                <a:lnTo>
                  <a:pt x="47186" y="382300"/>
                </a:lnTo>
                <a:lnTo>
                  <a:pt x="14766" y="382300"/>
                </a:lnTo>
                <a:cubicBezTo>
                  <a:pt x="9235" y="382300"/>
                  <a:pt x="4164" y="379078"/>
                  <a:pt x="1552" y="374167"/>
                </a:cubicBezTo>
                <a:cubicBezTo>
                  <a:pt x="-906" y="369257"/>
                  <a:pt x="-445" y="363273"/>
                  <a:pt x="2935" y="358669"/>
                </a:cubicBezTo>
                <a:lnTo>
                  <a:pt x="81603" y="251565"/>
                </a:lnTo>
                <a:cubicBezTo>
                  <a:pt x="84368" y="247729"/>
                  <a:pt x="88824" y="245427"/>
                  <a:pt x="93434" y="245427"/>
                </a:cubicBezTo>
                <a:close/>
                <a:moveTo>
                  <a:pt x="259204" y="157855"/>
                </a:moveTo>
                <a:cubicBezTo>
                  <a:pt x="263814" y="157855"/>
                  <a:pt x="268270" y="160156"/>
                  <a:pt x="271035" y="163839"/>
                </a:cubicBezTo>
                <a:lnTo>
                  <a:pt x="349703" y="271085"/>
                </a:lnTo>
                <a:cubicBezTo>
                  <a:pt x="353083" y="275534"/>
                  <a:pt x="353544" y="281518"/>
                  <a:pt x="351086" y="286581"/>
                </a:cubicBezTo>
                <a:cubicBezTo>
                  <a:pt x="348474" y="291491"/>
                  <a:pt x="343403" y="294559"/>
                  <a:pt x="337872" y="294559"/>
                </a:cubicBezTo>
                <a:lnTo>
                  <a:pt x="305452" y="294559"/>
                </a:lnTo>
                <a:lnTo>
                  <a:pt x="305452" y="543572"/>
                </a:lnTo>
                <a:cubicBezTo>
                  <a:pt x="305452" y="551704"/>
                  <a:pt x="298845" y="558455"/>
                  <a:pt x="290702" y="558455"/>
                </a:cubicBezTo>
                <a:lnTo>
                  <a:pt x="227707" y="558455"/>
                </a:lnTo>
                <a:cubicBezTo>
                  <a:pt x="219410" y="558455"/>
                  <a:pt x="212803" y="551704"/>
                  <a:pt x="212803" y="543572"/>
                </a:cubicBezTo>
                <a:lnTo>
                  <a:pt x="212803" y="294559"/>
                </a:lnTo>
                <a:lnTo>
                  <a:pt x="180537" y="294559"/>
                </a:lnTo>
                <a:cubicBezTo>
                  <a:pt x="174852" y="294559"/>
                  <a:pt x="169781" y="291491"/>
                  <a:pt x="167323" y="286581"/>
                </a:cubicBezTo>
                <a:cubicBezTo>
                  <a:pt x="164711" y="281518"/>
                  <a:pt x="165326" y="275534"/>
                  <a:pt x="168552" y="271085"/>
                </a:cubicBezTo>
                <a:lnTo>
                  <a:pt x="247220" y="163839"/>
                </a:lnTo>
                <a:cubicBezTo>
                  <a:pt x="249985" y="160156"/>
                  <a:pt x="254441" y="157855"/>
                  <a:pt x="259204" y="157855"/>
                </a:cubicBezTo>
                <a:close/>
                <a:moveTo>
                  <a:pt x="446012" y="156011"/>
                </a:moveTo>
                <a:cubicBezTo>
                  <a:pt x="448317" y="156011"/>
                  <a:pt x="450468" y="157392"/>
                  <a:pt x="451390" y="159693"/>
                </a:cubicBezTo>
                <a:lnTo>
                  <a:pt x="490572" y="267094"/>
                </a:lnTo>
                <a:cubicBezTo>
                  <a:pt x="492877" y="273231"/>
                  <a:pt x="501636" y="273231"/>
                  <a:pt x="503787" y="267094"/>
                </a:cubicBezTo>
                <a:lnTo>
                  <a:pt x="542969" y="159693"/>
                </a:lnTo>
                <a:cubicBezTo>
                  <a:pt x="544044" y="156778"/>
                  <a:pt x="547271" y="155244"/>
                  <a:pt x="550191" y="156165"/>
                </a:cubicBezTo>
                <a:lnTo>
                  <a:pt x="568783" y="161841"/>
                </a:lnTo>
                <a:lnTo>
                  <a:pt x="568937" y="161995"/>
                </a:lnTo>
                <a:cubicBezTo>
                  <a:pt x="592446" y="169666"/>
                  <a:pt x="608426" y="191607"/>
                  <a:pt x="608426" y="216462"/>
                </a:cubicBezTo>
                <a:lnTo>
                  <a:pt x="608426" y="330306"/>
                </a:lnTo>
                <a:cubicBezTo>
                  <a:pt x="608426" y="331380"/>
                  <a:pt x="608119" y="332454"/>
                  <a:pt x="607504" y="333375"/>
                </a:cubicBezTo>
                <a:lnTo>
                  <a:pt x="566632" y="395514"/>
                </a:lnTo>
                <a:lnTo>
                  <a:pt x="566632" y="552625"/>
                </a:lnTo>
                <a:cubicBezTo>
                  <a:pt x="566632" y="555847"/>
                  <a:pt x="564020" y="558455"/>
                  <a:pt x="560793" y="558455"/>
                </a:cubicBezTo>
                <a:lnTo>
                  <a:pt x="433566" y="558455"/>
                </a:lnTo>
                <a:cubicBezTo>
                  <a:pt x="430339" y="558455"/>
                  <a:pt x="427727" y="555847"/>
                  <a:pt x="427727" y="552625"/>
                </a:cubicBezTo>
                <a:lnTo>
                  <a:pt x="427727" y="395514"/>
                </a:lnTo>
                <a:lnTo>
                  <a:pt x="386855" y="333375"/>
                </a:lnTo>
                <a:cubicBezTo>
                  <a:pt x="386240" y="332454"/>
                  <a:pt x="385933" y="331380"/>
                  <a:pt x="385933" y="330306"/>
                </a:cubicBezTo>
                <a:lnTo>
                  <a:pt x="385933" y="216769"/>
                </a:lnTo>
                <a:cubicBezTo>
                  <a:pt x="385933" y="191760"/>
                  <a:pt x="401913" y="169820"/>
                  <a:pt x="425730" y="161841"/>
                </a:cubicBezTo>
                <a:cubicBezTo>
                  <a:pt x="425730" y="161841"/>
                  <a:pt x="445398" y="156011"/>
                  <a:pt x="446012" y="156011"/>
                </a:cubicBezTo>
                <a:close/>
                <a:moveTo>
                  <a:pt x="487387" y="148470"/>
                </a:moveTo>
                <a:lnTo>
                  <a:pt x="507184" y="148470"/>
                </a:lnTo>
                <a:cubicBezTo>
                  <a:pt x="509793" y="148470"/>
                  <a:pt x="512402" y="149544"/>
                  <a:pt x="514244" y="151386"/>
                </a:cubicBezTo>
                <a:cubicBezTo>
                  <a:pt x="517007" y="154455"/>
                  <a:pt x="517467" y="158905"/>
                  <a:pt x="515472" y="162281"/>
                </a:cubicBezTo>
                <a:lnTo>
                  <a:pt x="504882" y="178239"/>
                </a:lnTo>
                <a:lnTo>
                  <a:pt x="509793" y="220131"/>
                </a:lnTo>
                <a:lnTo>
                  <a:pt x="499971" y="246064"/>
                </a:lnTo>
                <a:cubicBezTo>
                  <a:pt x="499050" y="248673"/>
                  <a:pt x="495367" y="248673"/>
                  <a:pt x="494446" y="246064"/>
                </a:cubicBezTo>
                <a:lnTo>
                  <a:pt x="484624" y="220131"/>
                </a:lnTo>
                <a:lnTo>
                  <a:pt x="489689" y="178239"/>
                </a:lnTo>
                <a:lnTo>
                  <a:pt x="478946" y="162281"/>
                </a:lnTo>
                <a:cubicBezTo>
                  <a:pt x="477104" y="158905"/>
                  <a:pt x="477411" y="154455"/>
                  <a:pt x="480173" y="151386"/>
                </a:cubicBezTo>
                <a:cubicBezTo>
                  <a:pt x="482015" y="149544"/>
                  <a:pt x="484624" y="148470"/>
                  <a:pt x="487387" y="148470"/>
                </a:cubicBezTo>
                <a:close/>
                <a:moveTo>
                  <a:pt x="497215" y="0"/>
                </a:moveTo>
                <a:cubicBezTo>
                  <a:pt x="533264" y="0"/>
                  <a:pt x="562488" y="29192"/>
                  <a:pt x="562488" y="65203"/>
                </a:cubicBezTo>
                <a:cubicBezTo>
                  <a:pt x="562488" y="101214"/>
                  <a:pt x="533264" y="130406"/>
                  <a:pt x="497215" y="130406"/>
                </a:cubicBezTo>
                <a:cubicBezTo>
                  <a:pt x="461166" y="130406"/>
                  <a:pt x="431942" y="101214"/>
                  <a:pt x="431942" y="65203"/>
                </a:cubicBezTo>
                <a:cubicBezTo>
                  <a:pt x="431942" y="29192"/>
                  <a:pt x="461166" y="0"/>
                  <a:pt x="49721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 sz="2999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13" name="椭圆 12"/>
          <p:cNvSpPr/>
          <p:nvPr/>
        </p:nvSpPr>
        <p:spPr>
          <a:xfrm>
            <a:off x="6726152" y="2739093"/>
            <a:ext cx="1122400" cy="1122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3600">
              <a:solidFill>
                <a:srgbClr val="757070"/>
              </a:solidFill>
              <a:cs typeface="+mn-ea"/>
              <a:sym typeface="+mn-lt"/>
            </a:endParaRPr>
          </a:p>
        </p:txBody>
      </p:sp>
      <p:sp>
        <p:nvSpPr>
          <p:cNvPr id="14" name="任意多边形: 形状 13"/>
          <p:cNvSpPr/>
          <p:nvPr/>
        </p:nvSpPr>
        <p:spPr>
          <a:xfrm>
            <a:off x="7068289" y="3073829"/>
            <a:ext cx="438126" cy="452928"/>
          </a:xfrm>
          <a:custGeom>
            <a:avLst/>
            <a:gdLst>
              <a:gd name="connsiteX0" fmla="*/ 461639 w 580612"/>
              <a:gd name="connsiteY0" fmla="*/ 352545 h 600230"/>
              <a:gd name="connsiteX1" fmla="*/ 580612 w 580612"/>
              <a:gd name="connsiteY1" fmla="*/ 352545 h 600230"/>
              <a:gd name="connsiteX2" fmla="*/ 580612 w 580612"/>
              <a:gd name="connsiteY2" fmla="*/ 430802 h 600230"/>
              <a:gd name="connsiteX3" fmla="*/ 461639 w 580612"/>
              <a:gd name="connsiteY3" fmla="*/ 430802 h 600230"/>
              <a:gd name="connsiteX4" fmla="*/ 475840 w 580612"/>
              <a:gd name="connsiteY4" fmla="*/ 133995 h 600230"/>
              <a:gd name="connsiteX5" fmla="*/ 315645 w 580612"/>
              <a:gd name="connsiteY5" fmla="*/ 183272 h 600230"/>
              <a:gd name="connsiteX6" fmla="*/ 491024 w 580612"/>
              <a:gd name="connsiteY6" fmla="*/ 183272 h 600230"/>
              <a:gd name="connsiteX7" fmla="*/ 454012 w 580612"/>
              <a:gd name="connsiteY7" fmla="*/ 63112 h 600230"/>
              <a:gd name="connsiteX8" fmla="*/ 63585 w 580612"/>
              <a:gd name="connsiteY8" fmla="*/ 183272 h 600230"/>
              <a:gd name="connsiteX9" fmla="*/ 120905 w 580612"/>
              <a:gd name="connsiteY9" fmla="*/ 183272 h 600230"/>
              <a:gd name="connsiteX10" fmla="*/ 458947 w 580612"/>
              <a:gd name="connsiteY10" fmla="*/ 79222 h 600230"/>
              <a:gd name="connsiteX11" fmla="*/ 487418 w 580612"/>
              <a:gd name="connsiteY11" fmla="*/ 0 h 600230"/>
              <a:gd name="connsiteX12" fmla="*/ 543980 w 580612"/>
              <a:gd name="connsiteY12" fmla="*/ 183272 h 600230"/>
              <a:gd name="connsiteX13" fmla="*/ 580612 w 580612"/>
              <a:gd name="connsiteY13" fmla="*/ 183272 h 600230"/>
              <a:gd name="connsiteX14" fmla="*/ 580612 w 580612"/>
              <a:gd name="connsiteY14" fmla="*/ 324658 h 600230"/>
              <a:gd name="connsiteX15" fmla="*/ 433893 w 580612"/>
              <a:gd name="connsiteY15" fmla="*/ 324658 h 600230"/>
              <a:gd name="connsiteX16" fmla="*/ 433893 w 580612"/>
              <a:gd name="connsiteY16" fmla="*/ 458654 h 600230"/>
              <a:gd name="connsiteX17" fmla="*/ 580612 w 580612"/>
              <a:gd name="connsiteY17" fmla="*/ 458654 h 600230"/>
              <a:gd name="connsiteX18" fmla="*/ 580612 w 580612"/>
              <a:gd name="connsiteY18" fmla="*/ 600230 h 600230"/>
              <a:gd name="connsiteX19" fmla="*/ 13666 w 580612"/>
              <a:gd name="connsiteY19" fmla="*/ 600230 h 600230"/>
              <a:gd name="connsiteX20" fmla="*/ 13666 w 580612"/>
              <a:gd name="connsiteY20" fmla="*/ 195780 h 600230"/>
              <a:gd name="connsiteX21" fmla="*/ 0 w 580612"/>
              <a:gd name="connsiteY21" fmla="*/ 149726 h 600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80612" h="600230">
                <a:moveTo>
                  <a:pt x="461639" y="352545"/>
                </a:moveTo>
                <a:lnTo>
                  <a:pt x="580612" y="352545"/>
                </a:lnTo>
                <a:lnTo>
                  <a:pt x="580612" y="430802"/>
                </a:lnTo>
                <a:lnTo>
                  <a:pt x="461639" y="430802"/>
                </a:lnTo>
                <a:close/>
                <a:moveTo>
                  <a:pt x="475840" y="133995"/>
                </a:moveTo>
                <a:lnTo>
                  <a:pt x="315645" y="183272"/>
                </a:lnTo>
                <a:lnTo>
                  <a:pt x="491024" y="183272"/>
                </a:lnTo>
                <a:close/>
                <a:moveTo>
                  <a:pt x="454012" y="63112"/>
                </a:moveTo>
                <a:lnTo>
                  <a:pt x="63585" y="183272"/>
                </a:lnTo>
                <a:lnTo>
                  <a:pt x="120905" y="183272"/>
                </a:lnTo>
                <a:lnTo>
                  <a:pt x="458947" y="79222"/>
                </a:lnTo>
                <a:close/>
                <a:moveTo>
                  <a:pt x="487418" y="0"/>
                </a:moveTo>
                <a:lnTo>
                  <a:pt x="543980" y="183272"/>
                </a:lnTo>
                <a:lnTo>
                  <a:pt x="580612" y="183272"/>
                </a:lnTo>
                <a:lnTo>
                  <a:pt x="580612" y="324658"/>
                </a:lnTo>
                <a:lnTo>
                  <a:pt x="433893" y="324658"/>
                </a:lnTo>
                <a:lnTo>
                  <a:pt x="433893" y="458654"/>
                </a:lnTo>
                <a:lnTo>
                  <a:pt x="580612" y="458654"/>
                </a:lnTo>
                <a:lnTo>
                  <a:pt x="580612" y="600230"/>
                </a:lnTo>
                <a:lnTo>
                  <a:pt x="13666" y="600230"/>
                </a:lnTo>
                <a:lnTo>
                  <a:pt x="13666" y="195780"/>
                </a:lnTo>
                <a:lnTo>
                  <a:pt x="0" y="1497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 sz="2999">
              <a:solidFill>
                <a:schemeClr val="dk1"/>
              </a:solidFill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991726" y="4866938"/>
            <a:ext cx="3547895" cy="830683"/>
            <a:chOff x="5447763" y="3988523"/>
            <a:chExt cx="3547895" cy="830683"/>
          </a:xfrm>
        </p:grpSpPr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92E9A176-7F0C-463C-99A4-A04D082AF5D8}"/>
                </a:ext>
              </a:extLst>
            </p:cNvPr>
            <p:cNvSpPr txBox="1"/>
            <p:nvPr/>
          </p:nvSpPr>
          <p:spPr bwMode="auto">
            <a:xfrm>
              <a:off x="5447763" y="3988523"/>
              <a:ext cx="3547895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xt </a:t>
              </a:r>
              <a:r>
                <a:rPr lang="en-US" altLang="zh-CN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29BFDA75-1291-4634-B3D3-377F7028B596}"/>
                </a:ext>
              </a:extLst>
            </p:cNvPr>
            <p:cNvSpPr/>
            <p:nvPr/>
          </p:nvSpPr>
          <p:spPr bwMode="auto">
            <a:xfrm>
              <a:off x="5447763" y="4430329"/>
              <a:ext cx="3547895" cy="388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Copy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 </a:t>
              </a:r>
              <a:r>
                <a:rPr lang="en-US" altLang="zh-CN" sz="1100" dirty="0">
                  <a:cs typeface="+mn-ea"/>
                  <a:sym typeface="+mn-lt"/>
                </a:rPr>
                <a:t>paste fonts. Choose the only option to retain text.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6726152" y="4014702"/>
            <a:ext cx="3547895" cy="830683"/>
            <a:chOff x="5447763" y="3988523"/>
            <a:chExt cx="3547895" cy="830683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92E9A176-7F0C-463C-99A4-A04D082AF5D8}"/>
                </a:ext>
              </a:extLst>
            </p:cNvPr>
            <p:cNvSpPr txBox="1"/>
            <p:nvPr/>
          </p:nvSpPr>
          <p:spPr bwMode="auto">
            <a:xfrm>
              <a:off x="5447763" y="3988523"/>
              <a:ext cx="3547895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xt </a:t>
              </a:r>
              <a:r>
                <a:rPr lang="en-US" altLang="zh-CN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29BFDA75-1291-4634-B3D3-377F7028B596}"/>
                </a:ext>
              </a:extLst>
            </p:cNvPr>
            <p:cNvSpPr/>
            <p:nvPr/>
          </p:nvSpPr>
          <p:spPr bwMode="auto">
            <a:xfrm>
              <a:off x="5447763" y="4430329"/>
              <a:ext cx="3547895" cy="388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Copy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 </a:t>
              </a:r>
              <a:r>
                <a:rPr lang="en-US" altLang="zh-CN" sz="1100" dirty="0">
                  <a:cs typeface="+mn-ea"/>
                  <a:sym typeface="+mn-lt"/>
                </a:rPr>
                <a:t>paste fonts. Choose the only option to retain text.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1933444" y="2199469"/>
            <a:ext cx="3547895" cy="830683"/>
            <a:chOff x="5447763" y="3988523"/>
            <a:chExt cx="3547895" cy="830683"/>
          </a:xfrm>
        </p:grpSpPr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92E9A176-7F0C-463C-99A4-A04D082AF5D8}"/>
                </a:ext>
              </a:extLst>
            </p:cNvPr>
            <p:cNvSpPr txBox="1"/>
            <p:nvPr/>
          </p:nvSpPr>
          <p:spPr bwMode="auto">
            <a:xfrm>
              <a:off x="5447763" y="3988523"/>
              <a:ext cx="3547895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ext </a:t>
              </a:r>
              <a:r>
                <a:rPr lang="en-US" altLang="zh-CN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29BFDA75-1291-4634-B3D3-377F7028B596}"/>
                </a:ext>
              </a:extLst>
            </p:cNvPr>
            <p:cNvSpPr/>
            <p:nvPr/>
          </p:nvSpPr>
          <p:spPr bwMode="auto">
            <a:xfrm>
              <a:off x="5447763" y="4430329"/>
              <a:ext cx="3547895" cy="388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</a:t>
              </a:r>
              <a:r>
                <a:rPr lang="en-US" altLang="zh-CN" sz="1100">
                  <a:cs typeface="+mn-ea"/>
                  <a:sym typeface="+mn-lt"/>
                </a:rPr>
                <a:t>. Choo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e </a:t>
              </a:r>
              <a:r>
                <a:rPr lang="en-US" altLang="zh-CN" sz="1100" dirty="0">
                  <a:cs typeface="+mn-ea"/>
                  <a:sym typeface="+mn-lt"/>
                </a:rPr>
                <a:t>the only option to retain text.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6667870" y="1367066"/>
            <a:ext cx="3547895" cy="830683"/>
            <a:chOff x="5447763" y="3988523"/>
            <a:chExt cx="3547895" cy="830683"/>
          </a:xfrm>
        </p:grpSpPr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92E9A176-7F0C-463C-99A4-A04D082AF5D8}"/>
                </a:ext>
              </a:extLst>
            </p:cNvPr>
            <p:cNvSpPr txBox="1"/>
            <p:nvPr/>
          </p:nvSpPr>
          <p:spPr bwMode="auto">
            <a:xfrm>
              <a:off x="5447763" y="3988523"/>
              <a:ext cx="3547895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>
                  <a:cs typeface="+mn-ea"/>
                  <a:sym typeface="+mn-lt"/>
                </a:rPr>
                <a:t>Tex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t </a:t>
              </a:r>
              <a:r>
                <a:rPr lang="en-US" altLang="zh-CN" b="1" dirty="0">
                  <a:cs typeface="+mn-ea"/>
                  <a:sym typeface="+mn-lt"/>
                </a:rPr>
                <a:t>here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29BFDA75-1291-4634-B3D3-377F7028B596}"/>
                </a:ext>
              </a:extLst>
            </p:cNvPr>
            <p:cNvSpPr/>
            <p:nvPr/>
          </p:nvSpPr>
          <p:spPr bwMode="auto">
            <a:xfrm>
              <a:off x="5447763" y="4430329"/>
              <a:ext cx="3547895" cy="388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</a:t>
              </a:r>
              <a:r>
                <a:rPr lang="en-US" altLang="zh-CN" sz="1100">
                  <a:cs typeface="+mn-ea"/>
                  <a:sym typeface="+mn-lt"/>
                </a:rPr>
                <a:t>. Choo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e </a:t>
              </a:r>
              <a:r>
                <a:rPr lang="en-US" altLang="zh-CN" sz="1100" dirty="0">
                  <a:cs typeface="+mn-ea"/>
                  <a:sym typeface="+mn-lt"/>
                </a:rPr>
                <a:t>the only option to retain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68288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家庭日常预防病毒措施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580031" y="3485693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97272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2b1a7924-691b-4c3e-86bb-4fe1a5048b1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7F52EB"/>
      </a:accent1>
      <a:accent2>
        <a:srgbClr val="6658BF"/>
      </a:accent2>
      <a:accent3>
        <a:srgbClr val="9D91F9"/>
      </a:accent3>
      <a:accent4>
        <a:srgbClr val="FD5D5C"/>
      </a:accent4>
      <a:accent5>
        <a:srgbClr val="4151B2"/>
      </a:accent5>
      <a:accent6>
        <a:srgbClr val="A3A3A3"/>
      </a:accent6>
      <a:hlink>
        <a:srgbClr val="4472C4"/>
      </a:hlink>
      <a:folHlink>
        <a:srgbClr val="BFBFBF"/>
      </a:folHlink>
    </a:clrScheme>
    <a:fontScheme name="n2ick0bi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7F52EB"/>
    </a:accent1>
    <a:accent2>
      <a:srgbClr val="6658BF"/>
    </a:accent2>
    <a:accent3>
      <a:srgbClr val="9D91F9"/>
    </a:accent3>
    <a:accent4>
      <a:srgbClr val="FD5D5C"/>
    </a:accent4>
    <a:accent5>
      <a:srgbClr val="4151B2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7F52EB"/>
    </a:accent1>
    <a:accent2>
      <a:srgbClr val="6658BF"/>
    </a:accent2>
    <a:accent3>
      <a:srgbClr val="9D91F9"/>
    </a:accent3>
    <a:accent4>
      <a:srgbClr val="FD5D5C"/>
    </a:accent4>
    <a:accent5>
      <a:srgbClr val="4151B2"/>
    </a:accent5>
    <a:accent6>
      <a:srgbClr val="A3A3A3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7F52EB"/>
    </a:accent1>
    <a:accent2>
      <a:srgbClr val="6658BF"/>
    </a:accent2>
    <a:accent3>
      <a:srgbClr val="9D91F9"/>
    </a:accent3>
    <a:accent4>
      <a:srgbClr val="FD5D5C"/>
    </a:accent4>
    <a:accent5>
      <a:srgbClr val="4151B2"/>
    </a:accent5>
    <a:accent6>
      <a:srgbClr val="A3A3A3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va</Template>
  <TotalTime>29</TotalTime>
  <Words>975</Words>
  <Application>Microsoft Office PowerPoint</Application>
  <PresentationFormat>宽屏</PresentationFormat>
  <Paragraphs>179</Paragraphs>
  <Slides>1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23" baseType="lpstr">
      <vt:lpstr>等线</vt:lpstr>
      <vt:lpstr>Arial</vt:lpstr>
      <vt:lpstr>Calibri</vt:lpstr>
      <vt:lpstr>主题5</vt:lpstr>
      <vt:lpstr>think-cell Slide</vt:lpstr>
      <vt:lpstr>预防新型冠状病毒 最/全/攻/略</vt:lpstr>
      <vt:lpstr>PowerPoint 演示文稿</vt:lpstr>
      <vt:lpstr>公众预防病毒措施</vt:lpstr>
      <vt:lpstr>公众预防病毒措施</vt:lpstr>
      <vt:lpstr>公众预防病毒措施</vt:lpstr>
      <vt:lpstr>经过疫情流行地区预防病毒措施</vt:lpstr>
      <vt:lpstr>经过疫情流行地区预防病毒措施</vt:lpstr>
      <vt:lpstr>经过疫情流行地区预防病毒措施</vt:lpstr>
      <vt:lpstr>家庭日常预防病毒措施</vt:lpstr>
      <vt:lpstr>家庭日常预防病毒措施</vt:lpstr>
      <vt:lpstr>家庭日常预防病毒措施</vt:lpstr>
      <vt:lpstr>公共场所预防病毒措施</vt:lpstr>
      <vt:lpstr>公共场所预防病毒措施</vt:lpstr>
      <vt:lpstr>公共场所预防病毒措施</vt:lpstr>
      <vt:lpstr>怎样到医院就诊</vt:lpstr>
      <vt:lpstr>怎样到医院就诊</vt:lpstr>
      <vt:lpstr>怎样到医院就诊</vt:lpstr>
      <vt:lpstr>Thanks And Your 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va</dc:creator>
  <cp:lastModifiedBy>张 紫怡</cp:lastModifiedBy>
  <cp:revision>2</cp:revision>
  <cp:lastPrinted>2020-02-10T16:00:00Z</cp:lastPrinted>
  <dcterms:created xsi:type="dcterms:W3CDTF">2020-02-10T16:00:00Z</dcterms:created>
  <dcterms:modified xsi:type="dcterms:W3CDTF">2022-09-08T07:1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